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5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6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7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8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9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tags/tag63.xml" ContentType="application/vnd.openxmlformats-officedocument.presentationml.tags+xml"/>
  <Override PartName="/ppt/notesSlides/notesSlide2.xml" ContentType="application/vnd.openxmlformats-officedocument.presentationml.notesSlide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6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Ex1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6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4"/>
    <p:sldMasterId id="2147484135" r:id="rId5"/>
    <p:sldMasterId id="2147484184" r:id="rId6"/>
    <p:sldMasterId id="2147485215" r:id="rId7"/>
    <p:sldMasterId id="2147485232" r:id="rId8"/>
    <p:sldMasterId id="2147485314" r:id="rId9"/>
    <p:sldMasterId id="2147485376" r:id="rId10"/>
    <p:sldMasterId id="2147485396" r:id="rId11"/>
    <p:sldMasterId id="2147485457" r:id="rId12"/>
    <p:sldMasterId id="2147485462" r:id="rId13"/>
  </p:sldMasterIdLst>
  <p:notesMasterIdLst>
    <p:notesMasterId r:id="rId25"/>
  </p:notesMasterIdLst>
  <p:sldIdLst>
    <p:sldId id="2147479133" r:id="rId14"/>
    <p:sldId id="272" r:id="rId15"/>
    <p:sldId id="270" r:id="rId16"/>
    <p:sldId id="271" r:id="rId17"/>
    <p:sldId id="526" r:id="rId18"/>
    <p:sldId id="527" r:id="rId19"/>
    <p:sldId id="528" r:id="rId20"/>
    <p:sldId id="529" r:id="rId21"/>
    <p:sldId id="530" r:id="rId22"/>
    <p:sldId id="531" r:id="rId23"/>
    <p:sldId id="2147479134" r:id="rId24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22F47C0-1105-4275-86A7-3C637EC54897}">
          <p14:sldIdLst>
            <p14:sldId id="2147479133"/>
            <p14:sldId id="272"/>
            <p14:sldId id="270"/>
            <p14:sldId id="271"/>
            <p14:sldId id="526"/>
            <p14:sldId id="527"/>
            <p14:sldId id="528"/>
            <p14:sldId id="529"/>
            <p14:sldId id="530"/>
            <p14:sldId id="531"/>
            <p14:sldId id="2147479134"/>
          </p14:sldIdLst>
        </p14:section>
        <p14:section name="Appendix" id="{C4C796BE-76E5-4BE7-B645-3DD7161F2AC7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9CA06F-9857-F3E0-DCC1-31995C74153A}" name="Anderson, Trevor" initials="TA" userId="S::andertre@wwt.com::9836fcab-9521-4807-9dbe-d73c4e10345d" providerId="AD"/>
  <p188:author id="{0002E295-22EB-C8C6-E4F6-A53853D5E964}" name="Tate, Nicole" initials="NT" userId="S::TateN@wwt.com::12f6ebed-02ef-45b9-b161-04add52766dd" providerId="AD"/>
  <p188:author id="{97BA11B4-BC65-C926-9FB9-B37A645BEC18}" name="Tate, Nicole" initials="TN" userId="S::taten@wwt.com::12f6ebed-02ef-45b9-b161-04add52766d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lino, Terry" initials="PT" lastIdx="1" clrIdx="0">
    <p:extLst>
      <p:ext uri="{19B8F6BF-5375-455C-9EA6-DF929625EA0E}">
        <p15:presenceInfo xmlns:p15="http://schemas.microsoft.com/office/powerpoint/2012/main" userId="S::pelinot@wwt.com::8b24c2b1-cc53-4edd-b9e8-8a3cb07183b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4F81BD"/>
    <a:srgbClr val="005AB2"/>
    <a:srgbClr val="0057AF"/>
    <a:srgbClr val="357FA0"/>
    <a:srgbClr val="A4FAEA"/>
    <a:srgbClr val="68F7DC"/>
    <a:srgbClr val="078256"/>
    <a:srgbClr val="A1704F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–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–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–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–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–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–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–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87912" autoAdjust="0"/>
  </p:normalViewPr>
  <p:slideViewPr>
    <p:cSldViewPr snapToGrid="0">
      <p:cViewPr varScale="1">
        <p:scale>
          <a:sx n="58" d="100"/>
          <a:sy n="58" d="100"/>
        </p:scale>
        <p:origin x="988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rr, Donna" userId="609489c1-9433-4fe2-ac66-1b811c1f884a" providerId="ADAL" clId="{D3D58196-A0A6-4E65-ABA0-1F0603619B82}"/>
    <pc:docChg chg="modSld">
      <pc:chgData name="Herr, Donna" userId="609489c1-9433-4fe2-ac66-1b811c1f884a" providerId="ADAL" clId="{D3D58196-A0A6-4E65-ABA0-1F0603619B82}" dt="2024-10-04T18:58:25.528" v="6" actId="6549"/>
      <pc:docMkLst>
        <pc:docMk/>
      </pc:docMkLst>
      <pc:sldChg chg="modNotesTx">
        <pc:chgData name="Herr, Donna" userId="609489c1-9433-4fe2-ac66-1b811c1f884a" providerId="ADAL" clId="{D3D58196-A0A6-4E65-ABA0-1F0603619B82}" dt="2024-10-04T18:58:00.240" v="3" actId="6549"/>
        <pc:sldMkLst>
          <pc:docMk/>
          <pc:sldMk cId="1624840363" sldId="270"/>
        </pc:sldMkLst>
      </pc:sldChg>
      <pc:sldChg chg="modNotesTx">
        <pc:chgData name="Herr, Donna" userId="609489c1-9433-4fe2-ac66-1b811c1f884a" providerId="ADAL" clId="{D3D58196-A0A6-4E65-ABA0-1F0603619B82}" dt="2024-10-04T18:58:11.781" v="5" actId="6549"/>
        <pc:sldMkLst>
          <pc:docMk/>
          <pc:sldMk cId="261170969" sldId="271"/>
        </pc:sldMkLst>
      </pc:sldChg>
      <pc:sldChg chg="modNotesTx">
        <pc:chgData name="Herr, Donna" userId="609489c1-9433-4fe2-ac66-1b811c1f884a" providerId="ADAL" clId="{D3D58196-A0A6-4E65-ABA0-1F0603619B82}" dt="2024-10-04T18:58:05.110" v="4" actId="6549"/>
        <pc:sldMkLst>
          <pc:docMk/>
          <pc:sldMk cId="3935443690" sldId="272"/>
        </pc:sldMkLst>
      </pc:sldChg>
      <pc:sldChg chg="modNotesTx">
        <pc:chgData name="Herr, Donna" userId="609489c1-9433-4fe2-ac66-1b811c1f884a" providerId="ADAL" clId="{D3D58196-A0A6-4E65-ABA0-1F0603619B82}" dt="2024-10-04T18:58:25.528" v="6" actId="6549"/>
        <pc:sldMkLst>
          <pc:docMk/>
          <pc:sldMk cId="1479582127" sldId="214747913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../embeddings/oleObject35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wwt-my.sharepoint.com/personal/winterbc_wwt_com/Documents/Microsoft%20Teams%20Chat%20Files/FedEx%20Graphing%20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wwt-my.sharepoint.com/personal/winterbc_wwt_com/Documents/Microsoft%20Teams%20Chat%20Files/FedEx%20Graphing%202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amorian\Downloads\HW%20EOX%20Snapshot_Sept18%202024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amorian\Downloads\HW%20EOX%20Snapshot_Sept18%202024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amorian\Downloads\HW%20EOX%20Snapshot_Sept18%202024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microsoft.com/office/2011/relationships/chartStyle" Target="style5.xml"/><Relationship Id="rId1" Type="http://schemas.openxmlformats.org/officeDocument/2006/relationships/oleObject" Target="file:///\\Users\amorian\Downloads\HW%20EOX%20Snapshot_Sept18%202024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b="1" i="0" u="none" strike="noStrike" baseline="0">
                <a:effectLst/>
              </a:rPr>
              <a:t>Service Level SFA Savings </a:t>
            </a:r>
            <a:r>
              <a:rPr lang="en-US" sz="1200" b="1" i="0" u="none" strike="noStrike" baseline="0">
                <a:effectLst/>
              </a:rPr>
              <a:t>$26M</a:t>
            </a:r>
            <a:r>
              <a:rPr lang="en-US" sz="1800" b="1" i="0" u="none" strike="noStrike" baseline="0">
                <a:effectLst/>
              </a:rPr>
              <a:t> </a:t>
            </a:r>
          </a:p>
        </c:rich>
      </c:tx>
      <c:layout>
        <c:manualLayout>
          <c:xMode val="edge"/>
          <c:yMode val="edge"/>
          <c:x val="0.40444467087746461"/>
          <c:y val="2.604916194615596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525726508966622"/>
          <c:y val="0.14821342208659832"/>
          <c:w val="0.81323171818564932"/>
          <c:h val="0.6617136995083724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FedEx Graphing 2.xlsx]WPA Savings (2)'!$B$5</c:f>
              <c:strCache>
                <c:ptCount val="1"/>
                <c:pt idx="0">
                  <c:v>8.7 &amp; Onsite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FedEx Graphing 2.xlsx]WPA Savings (2)'!$C$4:$D$4</c:f>
              <c:strCache>
                <c:ptCount val="2"/>
                <c:pt idx="0">
                  <c:v>Without SFA </c:v>
                </c:pt>
                <c:pt idx="1">
                  <c:v>SFA</c:v>
                </c:pt>
              </c:strCache>
            </c:strRef>
          </c:cat>
          <c:val>
            <c:numRef>
              <c:f>'[FedEx Graphing 2.xlsx]WPA Savings (2)'!$C$5:$D$5</c:f>
              <c:numCache>
                <c:formatCode>"$"#,,"M"</c:formatCode>
                <c:ptCount val="2"/>
                <c:pt idx="0">
                  <c:v>34585154.960000001</c:v>
                </c:pt>
                <c:pt idx="1">
                  <c:v>15909171.27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54-45E0-9440-9C672E3B6D0D}"/>
            </c:ext>
          </c:extLst>
        </c:ser>
        <c:ser>
          <c:idx val="1"/>
          <c:order val="1"/>
          <c:tx>
            <c:strRef>
              <c:f>'[FedEx Graphing 2.xlsx]WPA Savings (2)'!$B$6</c:f>
              <c:strCache>
                <c:ptCount val="1"/>
                <c:pt idx="0">
                  <c:v>8.5 &amp; NB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FedEx Graphing 2.xlsx]WPA Savings (2)'!$C$4:$D$4</c:f>
              <c:strCache>
                <c:ptCount val="2"/>
                <c:pt idx="0">
                  <c:v>Without SFA </c:v>
                </c:pt>
                <c:pt idx="1">
                  <c:v>SFA</c:v>
                </c:pt>
              </c:strCache>
            </c:strRef>
          </c:cat>
          <c:val>
            <c:numRef>
              <c:f>'[FedEx Graphing 2.xlsx]WPA Savings (2)'!$C$6:$D$6</c:f>
              <c:numCache>
                <c:formatCode>"$"#,,"M"</c:formatCode>
                <c:ptCount val="2"/>
                <c:pt idx="0">
                  <c:v>14295252.710000001</c:v>
                </c:pt>
                <c:pt idx="1">
                  <c:v>6621816.24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54-45E0-9440-9C672E3B6D0D}"/>
            </c:ext>
          </c:extLst>
        </c:ser>
        <c:ser>
          <c:idx val="3"/>
          <c:order val="2"/>
          <c:tx>
            <c:strRef>
              <c:f>'WPA Savings (2)'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FedEx Graphing 2.xlsx]WPA Savings (2)'!$C$4:$D$4</c:f>
              <c:strCache>
                <c:ptCount val="2"/>
                <c:pt idx="0">
                  <c:v>Without SFA </c:v>
                </c:pt>
                <c:pt idx="1">
                  <c:v>SFA</c:v>
                </c:pt>
              </c:strCache>
            </c:strRef>
          </c:cat>
          <c:val>
            <c:numRef>
              <c:f>'WPA Savings (2)'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54-45E0-9440-9C672E3B6D0D}"/>
            </c:ext>
          </c:extLst>
        </c:ser>
        <c:ser>
          <c:idx val="4"/>
          <c:order val="3"/>
          <c:tx>
            <c:strRef>
              <c:f>'WPA Savings (2)'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FedEx Graphing 2.xlsx]WPA Savings (2)'!$C$4:$D$4</c:f>
              <c:strCache>
                <c:ptCount val="2"/>
                <c:pt idx="0">
                  <c:v>Without SFA </c:v>
                </c:pt>
                <c:pt idx="1">
                  <c:v>SFA</c:v>
                </c:pt>
              </c:strCache>
            </c:strRef>
          </c:cat>
          <c:val>
            <c:numRef>
              <c:f>'WPA Savings (2)'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54-45E0-9440-9C672E3B6D0D}"/>
            </c:ext>
          </c:extLst>
        </c:ser>
        <c:ser>
          <c:idx val="5"/>
          <c:order val="4"/>
          <c:tx>
            <c:strRef>
              <c:f>'WPA Savings (2)'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[FedEx Graphing 2.xlsx]WPA Savings (2)'!$C$4:$D$4</c:f>
              <c:strCache>
                <c:ptCount val="2"/>
                <c:pt idx="0">
                  <c:v>Without SFA </c:v>
                </c:pt>
                <c:pt idx="1">
                  <c:v>SFA</c:v>
                </c:pt>
              </c:strCache>
            </c:strRef>
          </c:cat>
          <c:val>
            <c:numRef>
              <c:f>'WPA Savings (2)'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954-45E0-9440-9C672E3B6D0D}"/>
            </c:ext>
          </c:extLst>
        </c:ser>
        <c:ser>
          <c:idx val="6"/>
          <c:order val="5"/>
          <c:tx>
            <c:strRef>
              <c:f>'WPA Savings (2)'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[FedEx Graphing 2.xlsx]WPA Savings (2)'!$C$4:$D$4</c:f>
              <c:strCache>
                <c:ptCount val="2"/>
                <c:pt idx="0">
                  <c:v>Without SFA </c:v>
                </c:pt>
                <c:pt idx="1">
                  <c:v>SFA</c:v>
                </c:pt>
              </c:strCache>
            </c:strRef>
          </c:cat>
          <c:val>
            <c:numRef>
              <c:f>'WPA Savings (2)'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954-45E0-9440-9C672E3B6D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67633247"/>
        <c:axId val="667634911"/>
      </c:barChart>
      <c:catAx>
        <c:axId val="6676332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7634911"/>
        <c:crosses val="autoZero"/>
        <c:auto val="1"/>
        <c:lblAlgn val="ctr"/>
        <c:lblOffset val="100"/>
        <c:noMultiLvlLbl val="0"/>
      </c:catAx>
      <c:valAx>
        <c:axId val="667634911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7633247"/>
        <c:crosses val="autoZero"/>
        <c:crossBetween val="between"/>
      </c:valAx>
      <c:spPr>
        <a:noFill/>
        <a:ln>
          <a:gradFill>
            <a:gsLst>
              <a:gs pos="10000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3.1391491655642929E-2"/>
          <c:y val="0.87286267719432376"/>
          <c:w val="0.90013860450395988"/>
          <c:h val="6.97769926917729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accent1">
          <a:shade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5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b="1" i="0" u="none" strike="noStrike" kern="1200" cap="small" spc="0" baseline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Devices By Service Level  </a:t>
            </a:r>
          </a:p>
        </c:rich>
      </c:tx>
      <c:layout>
        <c:manualLayout>
          <c:xMode val="edge"/>
          <c:yMode val="edge"/>
          <c:x val="0.30835822484078479"/>
          <c:y val="3.36275701591590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5954361076766234E-2"/>
          <c:y val="0.2067007302478405"/>
          <c:w val="0.42057038847155603"/>
          <c:h val="0.61067513414663355"/>
        </c:manualLayout>
      </c:layout>
      <c:pieChart>
        <c:varyColors val="1"/>
        <c:ser>
          <c:idx val="0"/>
          <c:order val="0"/>
          <c:dPt>
            <c:idx val="0"/>
            <c:bubble3D val="0"/>
            <c:explosion val="5"/>
            <c:spPr>
              <a:solidFill>
                <a:srgbClr val="A568D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C7F-4C91-99F6-8F267D0C03FE}"/>
              </c:ext>
            </c:extLst>
          </c:dPt>
          <c:dPt>
            <c:idx val="1"/>
            <c:bubble3D val="0"/>
            <c:spPr>
              <a:solidFill>
                <a:srgbClr val="B2DD8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C7F-4C91-99F6-8F267D0C03F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FedEx Graphing 2.xlsx]WPA Technology PIE'!$B$2:$B$3</c:f>
              <c:strCache>
                <c:ptCount val="2"/>
                <c:pt idx="0">
                  <c:v>8.7 &amp; Onsite</c:v>
                </c:pt>
                <c:pt idx="1">
                  <c:v>8.5 &amp; NBD</c:v>
                </c:pt>
              </c:strCache>
            </c:strRef>
          </c:cat>
          <c:val>
            <c:numRef>
              <c:f>'[FedEx Graphing 2.xlsx]WPA Technology PIE'!$C$2:$C$3</c:f>
              <c:numCache>
                <c:formatCode>General</c:formatCode>
                <c:ptCount val="2"/>
                <c:pt idx="0">
                  <c:v>30724</c:v>
                </c:pt>
                <c:pt idx="1">
                  <c:v>12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F-4C91-99F6-8F267D0C03FE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AC7F-4C91-99F6-8F267D0C03F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AC7F-4C91-99F6-8F267D0C03F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AC7F-4C91-99F6-8F267D0C03FE}"/>
              </c:ext>
            </c:extLst>
          </c:dPt>
          <c:cat>
            <c:strRef>
              <c:f>'[FedEx Graphing 2.xlsx]WPA Technology PIE'!$B$1:$B$3</c:f>
              <c:strCache>
                <c:ptCount val="3"/>
                <c:pt idx="0">
                  <c:v> Devices by Service Level </c:v>
                </c:pt>
                <c:pt idx="1">
                  <c:v>8.7 &amp; Onsite</c:v>
                </c:pt>
                <c:pt idx="2">
                  <c:v>8.5 &amp; NBD</c:v>
                </c:pt>
              </c:strCache>
            </c:strRef>
          </c:cat>
          <c:val>
            <c:numRef>
              <c:f>'[FedEx Graphing 2.xlsx]WPA Technology PIE'!$C$1:$C$3</c:f>
              <c:numCache>
                <c:formatCode>General</c:formatCode>
                <c:ptCount val="3"/>
                <c:pt idx="1">
                  <c:v>30724</c:v>
                </c:pt>
                <c:pt idx="2">
                  <c:v>12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C7F-4C91-99F6-8F267D0C03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4295550265519132"/>
          <c:y val="0.22853164288155972"/>
          <c:w val="0.39200396600830523"/>
          <c:h val="0.275393767582022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500" b="1" i="0" u="none" strike="noStrike" kern="1200" cap="small" spc="0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SFA Software Savings </a:t>
            </a:r>
          </a:p>
        </c:rich>
      </c:tx>
      <c:layout>
        <c:manualLayout>
          <c:xMode val="edge"/>
          <c:yMode val="edge"/>
          <c:x val="0.28514995625546802"/>
          <c:y val="5.18806673841903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117795275590551"/>
          <c:y val="0.23626455926760292"/>
          <c:w val="0.41097760279965007"/>
          <c:h val="0.6396537693960164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AFE-4351-87BB-776208AA0C8D}"/>
              </c:ext>
            </c:extLst>
          </c:dPt>
          <c:dPt>
            <c:idx val="1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AFE-4351-87BB-776208AA0C8D}"/>
              </c:ext>
            </c:extLst>
          </c:dPt>
          <c:dPt>
            <c:idx val="2"/>
            <c:bubble3D val="0"/>
            <c:spPr>
              <a:solidFill>
                <a:srgbClr val="FFCC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AFE-4351-87BB-776208AA0C8D}"/>
              </c:ext>
            </c:extLst>
          </c:dPt>
          <c:dPt>
            <c:idx val="3"/>
            <c:bubble3D val="0"/>
            <c:spPr>
              <a:solidFill>
                <a:srgbClr val="A568D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AFE-4351-87BB-776208AA0C8D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AFE-4351-87BB-776208AA0C8D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AFE-4351-87BB-776208AA0C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FedEx Graphing 2.xlsx]WPA Technology PIE'!$B$6:$B$10</c:f>
              <c:strCache>
                <c:ptCount val="5"/>
                <c:pt idx="0">
                  <c:v>SFA Software Savings</c:v>
                </c:pt>
                <c:pt idx="1">
                  <c:v>Enterprise Routing</c:v>
                </c:pt>
                <c:pt idx="2">
                  <c:v>ACI</c:v>
                </c:pt>
                <c:pt idx="3">
                  <c:v>Enterprise Networking</c:v>
                </c:pt>
                <c:pt idx="4">
                  <c:v>Enterprise Switching</c:v>
                </c:pt>
              </c:strCache>
            </c:strRef>
          </c:cat>
          <c:val>
            <c:numRef>
              <c:f>'[FedEx Graphing 2.xlsx]WPA Technology PIE'!$C$6:$C$10</c:f>
              <c:numCache>
                <c:formatCode>"$"#,##0.00</c:formatCode>
                <c:ptCount val="5"/>
                <c:pt idx="1">
                  <c:v>12.19076660969357</c:v>
                </c:pt>
                <c:pt idx="2">
                  <c:v>10.510554808179164</c:v>
                </c:pt>
                <c:pt idx="3">
                  <c:v>10.262927231740079</c:v>
                </c:pt>
                <c:pt idx="4">
                  <c:v>7.1271920135155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AFE-4351-87BB-776208AA0C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60777777777777775"/>
          <c:y val="0.31560712091436338"/>
          <c:w val="0.3"/>
          <c:h val="0.452659231436252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Future LDOS'!$C$1</c:f>
              <c:strCache>
                <c:ptCount val="1"/>
                <c:pt idx="0">
                  <c:v>Devices LDo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Future LDOS'!$B$2:$B$6</c:f>
              <c:numCache>
                <c:formatCode>General</c:formatCode>
                <c:ptCount val="5"/>
                <c:pt idx="0">
                  <c:v>2025</c:v>
                </c:pt>
                <c:pt idx="1">
                  <c:v>2026</c:v>
                </c:pt>
                <c:pt idx="2">
                  <c:v>2027</c:v>
                </c:pt>
                <c:pt idx="3">
                  <c:v>2028</c:v>
                </c:pt>
                <c:pt idx="4">
                  <c:v>2029</c:v>
                </c:pt>
              </c:numCache>
            </c:numRef>
          </c:cat>
          <c:val>
            <c:numRef>
              <c:f>'Future LDOS'!$C$2:$C$6</c:f>
              <c:numCache>
                <c:formatCode>#,##0</c:formatCode>
                <c:ptCount val="5"/>
                <c:pt idx="0">
                  <c:v>370</c:v>
                </c:pt>
                <c:pt idx="1">
                  <c:v>0</c:v>
                </c:pt>
                <c:pt idx="2">
                  <c:v>6579</c:v>
                </c:pt>
                <c:pt idx="3">
                  <c:v>5490</c:v>
                </c:pt>
                <c:pt idx="4">
                  <c:v>2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D9-E443-9832-A97FC3B3DD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55252415"/>
        <c:axId val="797723296"/>
      </c:barChart>
      <c:catAx>
        <c:axId val="2552524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7723296"/>
        <c:crosses val="autoZero"/>
        <c:auto val="1"/>
        <c:lblAlgn val="ctr"/>
        <c:lblOffset val="100"/>
        <c:noMultiLvlLbl val="0"/>
      </c:catAx>
      <c:valAx>
        <c:axId val="797723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52524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55246865793164"/>
          <c:y val="0.22904559808204089"/>
          <c:w val="0.78689506268413667"/>
          <c:h val="0.71708378484857105"/>
        </c:manualLayout>
      </c:layout>
      <c:pieChart>
        <c:varyColors val="1"/>
        <c:ser>
          <c:idx val="0"/>
          <c:order val="0"/>
          <c:tx>
            <c:strRef>
              <c:f>'Pivot-EoSWM'!$G$3</c:f>
              <c:strCache>
                <c:ptCount val="1"/>
                <c:pt idx="0">
                  <c:v>% of Devices</c:v>
                </c:pt>
              </c:strCache>
            </c:strRef>
          </c:tx>
          <c:spPr>
            <a:ln w="9525"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D8-AF48-B326-4EC55FD9F0C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D8-AF48-B326-4EC55FD9F0C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FD8-AF48-B326-4EC55FD9F0C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FD8-AF48-B326-4EC55FD9F0C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FD8-AF48-B326-4EC55FD9F0C2}"/>
              </c:ext>
            </c:extLst>
          </c:dPt>
          <c:dLbls>
            <c:delete val="1"/>
          </c:dLbls>
          <c:cat>
            <c:strRef>
              <c:f>'Pivot-EoSWM'!$E$4:$E$8</c:f>
              <c:strCache>
                <c:ptCount val="5"/>
                <c:pt idx="0">
                  <c:v> Catalyst 2960-X  Switches</c:v>
                </c:pt>
                <c:pt idx="1">
                  <c:v> Catalyst 3850  Switches</c:v>
                </c:pt>
                <c:pt idx="2">
                  <c:v> Nexus 5000  Switches</c:v>
                </c:pt>
                <c:pt idx="3">
                  <c:v>Nexus 9000  Switches</c:v>
                </c:pt>
                <c:pt idx="4">
                  <c:v>Other</c:v>
                </c:pt>
              </c:strCache>
            </c:strRef>
          </c:cat>
          <c:val>
            <c:numRef>
              <c:f>'Pivot-EoSWM'!$G$4:$G$8</c:f>
              <c:numCache>
                <c:formatCode>0%</c:formatCode>
                <c:ptCount val="5"/>
                <c:pt idx="0">
                  <c:v>0.86487656994369855</c:v>
                </c:pt>
                <c:pt idx="1">
                  <c:v>5.8322506135412157E-2</c:v>
                </c:pt>
                <c:pt idx="2">
                  <c:v>3.2625956402483038E-2</c:v>
                </c:pt>
                <c:pt idx="3">
                  <c:v>1.0827197921177999E-2</c:v>
                </c:pt>
                <c:pt idx="4">
                  <c:v>3.33477695972282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D8-AF48-B326-4EC55FD9F0C2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028029244570101"/>
          <c:y val="4.1706343644763222E-2"/>
          <c:w val="0.64524190917589053"/>
          <c:h val="0.92490474250678167"/>
        </c:manualLayout>
      </c:layout>
      <c:doughnutChart>
        <c:varyColors val="1"/>
        <c:ser>
          <c:idx val="0"/>
          <c:order val="0"/>
          <c:spPr>
            <a:ln w="6350"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1E-F44B-8C5D-B95EC4B54E5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1E-F44B-8C5D-B95EC4B54E5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1E-F44B-8C5D-B95EC4B54E5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31E-F44B-8C5D-B95EC4B54E5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31E-F44B-8C5D-B95EC4B54E5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31E-F44B-8C5D-B95EC4B54E5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31E-F44B-8C5D-B95EC4B54E5B}"/>
              </c:ext>
            </c:extLst>
          </c:dPt>
          <c:cat>
            <c:strRef>
              <c:f>'Pivot-LDOS 2027'!$A$14:$A$20</c:f>
              <c:strCache>
                <c:ptCount val="7"/>
                <c:pt idx="0">
                  <c:v>Cisco ASR 1000 Series Aggregation Services Routers</c:v>
                </c:pt>
                <c:pt idx="1">
                  <c:v>Cisco Catalyst 2960-X Series Switches</c:v>
                </c:pt>
                <c:pt idx="2">
                  <c:v>Cisco Catalyst 3850 Series Switches</c:v>
                </c:pt>
                <c:pt idx="3">
                  <c:v>Cisco Catalyst 6800 Series Switches</c:v>
                </c:pt>
                <c:pt idx="4">
                  <c:v>Cisco Nexus 3000 Series Switches</c:v>
                </c:pt>
                <c:pt idx="5">
                  <c:v>Cisco Nexus 7000 Series Switches</c:v>
                </c:pt>
                <c:pt idx="6">
                  <c:v>Cisco Nexus 9000 Series Switches</c:v>
                </c:pt>
              </c:strCache>
            </c:strRef>
          </c:cat>
          <c:val>
            <c:numRef>
              <c:f>'Pivot-LDOS 2027'!$B$14:$B$20</c:f>
              <c:numCache>
                <c:formatCode>General</c:formatCode>
                <c:ptCount val="7"/>
                <c:pt idx="0">
                  <c:v>74</c:v>
                </c:pt>
                <c:pt idx="1">
                  <c:v>5991</c:v>
                </c:pt>
                <c:pt idx="2">
                  <c:v>404</c:v>
                </c:pt>
                <c:pt idx="3">
                  <c:v>4</c:v>
                </c:pt>
                <c:pt idx="4">
                  <c:v>6</c:v>
                </c:pt>
                <c:pt idx="5">
                  <c:v>25</c:v>
                </c:pt>
                <c:pt idx="6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31E-F44B-8C5D-B95EC4B54E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Pivot-LDOS'!$B$4:$B$9</cx:f>
        <cx:lvl ptCount="6">
          <cx:pt idx="0">Cisco Nexus 5000 Series Switches</cx:pt>
          <cx:pt idx="1">Cisco Catalyst 4900 Series Switches</cx:pt>
          <cx:pt idx="2">Cisco Catalyst 3560-X Series Switches</cx:pt>
          <cx:pt idx="3">Cisco 2900 Series Integrated Services Routers</cx:pt>
          <cx:pt idx="4">Cisco Catalyst 3560 Series Switches</cx:pt>
          <cx:pt idx="5">Other</cx:pt>
        </cx:lvl>
      </cx:strDim>
      <cx:numDim type="val">
        <cx:f>'Pivot-LDOS'!$C$4:$C$9</cx:f>
        <cx:lvl ptCount="6" formatCode="General">
          <cx:pt idx="0">552</cx:pt>
          <cx:pt idx="1">391</cx:pt>
          <cx:pt idx="2">225</cx:pt>
          <cx:pt idx="3">87</cx:pt>
          <cx:pt idx="4">47</cx:pt>
          <cx:pt idx="5">234</cx:pt>
        </cx:lvl>
      </cx:numDim>
    </cx:data>
  </cx:chartData>
  <cx:chart>
    <cx:plotArea>
      <cx:plotAreaRegion>
        <cx:series layoutId="funnel" uniqueId="{7D646750-D996-BB41-9C9A-A043DC7B6CAD}"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>
                    <a:solidFill>
                      <a:schemeClr val="bg2"/>
                    </a:solidFill>
                  </a:defRPr>
                </a:pPr>
                <a:endParaRPr lang="en-US" sz="900" b="0" i="0" u="none" strike="noStrike" baseline="0">
                  <a:solidFill>
                    <a:schemeClr val="bg2"/>
                  </a:solidFill>
                  <a:latin typeface="CiscoSansTT Light"/>
                </a:endParaRPr>
              </a:p>
            </cx:txPr>
            <cx:visibility seriesName="0" categoryName="0" value="1"/>
          </cx:dataLabels>
          <cx:dataId val="0"/>
        </cx:series>
      </cx:plotAreaRegion>
      <cx:axis id="0" hidden="1">
        <cx:catScaling gapWidth="0.0599999987"/>
        <cx:tickLabels/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774</cdr:x>
      <cdr:y>0.32288</cdr:y>
    </cdr:from>
    <cdr:to>
      <cdr:x>0.86548</cdr:x>
      <cdr:y>0.3874</cdr:y>
    </cdr:to>
    <cdr:sp macro="" textlink="">
      <cdr:nvSpPr>
        <cdr:cNvPr id="14" name="Flowchart: Alternate Process 3">
          <a:extLst xmlns:a="http://schemas.openxmlformats.org/drawingml/2006/main">
            <a:ext uri="{FF2B5EF4-FFF2-40B4-BE49-F238E27FC236}">
              <a16:creationId xmlns:a16="http://schemas.microsoft.com/office/drawing/2014/main" id="{BC8C2AC8-11E5-4D6A-AD99-52DCFFC92C36}"/>
            </a:ext>
          </a:extLst>
        </cdr:cNvPr>
        <cdr:cNvSpPr/>
      </cdr:nvSpPr>
      <cdr:spPr>
        <a:xfrm xmlns:a="http://schemas.openxmlformats.org/drawingml/2006/main">
          <a:off x="6249412" y="1722186"/>
          <a:ext cx="1735145" cy="344134"/>
        </a:xfrm>
        <a:prstGeom xmlns:a="http://schemas.openxmlformats.org/drawingml/2006/main" prst="flowChartAlternateProcess">
          <a:avLst/>
        </a:prstGeom>
        <a:solidFill xmlns:a="http://schemas.openxmlformats.org/drawingml/2006/main">
          <a:srgbClr val="92D05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b="1">
              <a:solidFill>
                <a:sysClr val="windowText" lastClr="000000"/>
              </a:solidFill>
              <a:effectLst/>
            </a:rPr>
            <a:t>$26M Total Savings</a:t>
          </a:r>
        </a:p>
      </cdr:txBody>
    </cdr:sp>
  </cdr:relSizeAnchor>
  <cdr:relSizeAnchor xmlns:cdr="http://schemas.openxmlformats.org/drawingml/2006/chartDrawing">
    <cdr:from>
      <cdr:x>0.40085</cdr:x>
      <cdr:y>0.275</cdr:y>
    </cdr:from>
    <cdr:to>
      <cdr:x>0.64653</cdr:x>
      <cdr:y>0.55867</cdr:y>
    </cdr:to>
    <cdr:cxnSp macro="">
      <cdr:nvCxnSpPr>
        <cdr:cNvPr id="16" name="Straight Connector 5">
          <a:extLst xmlns:a="http://schemas.openxmlformats.org/drawingml/2006/main">
            <a:ext uri="{FF2B5EF4-FFF2-40B4-BE49-F238E27FC236}">
              <a16:creationId xmlns:a16="http://schemas.microsoft.com/office/drawing/2014/main" id="{5AEE1A49-AAB3-4417-8E5F-BAE883FE36FA}"/>
            </a:ext>
          </a:extLst>
        </cdr:cNvPr>
        <cdr:cNvCxnSpPr/>
      </cdr:nvCxnSpPr>
      <cdr:spPr>
        <a:xfrm xmlns:a="http://schemas.openxmlformats.org/drawingml/2006/main">
          <a:off x="3698099" y="1112162"/>
          <a:ext cx="2266503" cy="1147218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3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2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5886</cdr:x>
      <cdr:y>0.59531</cdr:y>
    </cdr:from>
    <cdr:to>
      <cdr:x>0.64018</cdr:x>
      <cdr:y>0.66496</cdr:y>
    </cdr:to>
    <cdr:sp macro="" textlink="">
      <cdr:nvSpPr>
        <cdr:cNvPr id="18" name="Flowchart: Alternate Process 3">
          <a:extLst xmlns:a="http://schemas.openxmlformats.org/drawingml/2006/main">
            <a:ext uri="{FF2B5EF4-FFF2-40B4-BE49-F238E27FC236}">
              <a16:creationId xmlns:a16="http://schemas.microsoft.com/office/drawing/2014/main" id="{D8FEB345-B11B-D466-A58A-7678CCDAF673}"/>
            </a:ext>
          </a:extLst>
        </cdr:cNvPr>
        <cdr:cNvSpPr/>
      </cdr:nvSpPr>
      <cdr:spPr>
        <a:xfrm xmlns:a="http://schemas.openxmlformats.org/drawingml/2006/main">
          <a:off x="4233220" y="2407569"/>
          <a:ext cx="1672766" cy="281657"/>
        </a:xfrm>
        <a:prstGeom xmlns:a="http://schemas.openxmlformats.org/drawingml/2006/main" prst="flowChartAlternateProcess">
          <a:avLst/>
        </a:prstGeom>
        <a:solidFill xmlns:a="http://schemas.openxmlformats.org/drawingml/2006/main">
          <a:srgbClr val="92D05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b="1">
              <a:solidFill>
                <a:sysClr val="windowText" lastClr="000000"/>
              </a:solidFill>
              <a:effectLst/>
            </a:rPr>
            <a:t>$19M 8.7 &amp; Onsite Savings</a:t>
          </a:r>
        </a:p>
      </cdr:txBody>
    </cdr:sp>
  </cdr:relSizeAnchor>
  <cdr:relSizeAnchor xmlns:cdr="http://schemas.openxmlformats.org/drawingml/2006/chartDrawing">
    <cdr:from>
      <cdr:x>0.45969</cdr:x>
      <cdr:y>0.32897</cdr:y>
    </cdr:from>
    <cdr:to>
      <cdr:x>0.63806</cdr:x>
      <cdr:y>0.38958</cdr:y>
    </cdr:to>
    <cdr:sp macro="" textlink="">
      <cdr:nvSpPr>
        <cdr:cNvPr id="20" name="Flowchart: Alternate Process 3">
          <a:extLst xmlns:a="http://schemas.openxmlformats.org/drawingml/2006/main">
            <a:ext uri="{FF2B5EF4-FFF2-40B4-BE49-F238E27FC236}">
              <a16:creationId xmlns:a16="http://schemas.microsoft.com/office/drawing/2014/main" id="{11F57BC9-DF52-6AAE-CE7D-A240645C5D75}"/>
            </a:ext>
          </a:extLst>
        </cdr:cNvPr>
        <cdr:cNvSpPr/>
      </cdr:nvSpPr>
      <cdr:spPr>
        <a:xfrm xmlns:a="http://schemas.openxmlformats.org/drawingml/2006/main">
          <a:off x="4240867" y="1330421"/>
          <a:ext cx="1645581" cy="245113"/>
        </a:xfrm>
        <a:prstGeom xmlns:a="http://schemas.openxmlformats.org/drawingml/2006/main" prst="flowChartAlternateProcess">
          <a:avLst/>
        </a:prstGeom>
        <a:solidFill xmlns:a="http://schemas.openxmlformats.org/drawingml/2006/main">
          <a:srgbClr val="92D05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b="1">
              <a:solidFill>
                <a:sysClr val="windowText" lastClr="000000"/>
              </a:solidFill>
              <a:effectLst/>
            </a:rPr>
            <a:t>$7M 8.5 &amp; NBD</a:t>
          </a:r>
          <a:r>
            <a:rPr lang="en-US" sz="1000" b="1" baseline="0">
              <a:solidFill>
                <a:sysClr val="windowText" lastClr="000000"/>
              </a:solidFill>
              <a:effectLst/>
            </a:rPr>
            <a:t> </a:t>
          </a:r>
          <a:r>
            <a:rPr lang="en-US" sz="1000" b="1">
              <a:solidFill>
                <a:sysClr val="windowText" lastClr="000000"/>
              </a:solidFill>
              <a:effectLst/>
            </a:rPr>
            <a:t>Savings</a:t>
          </a:r>
        </a:p>
      </cdr:txBody>
    </cdr:sp>
  </cdr:relSizeAnchor>
  <cdr:relSizeAnchor xmlns:cdr="http://schemas.openxmlformats.org/drawingml/2006/chartDrawing">
    <cdr:from>
      <cdr:x>0.41214</cdr:x>
      <cdr:y>0.28311</cdr:y>
    </cdr:from>
    <cdr:to>
      <cdr:x>0.44951</cdr:x>
      <cdr:y>0.42581</cdr:y>
    </cdr:to>
    <cdr:sp macro="" textlink="">
      <cdr:nvSpPr>
        <cdr:cNvPr id="5" name="Right Brace 4">
          <a:extLst xmlns:a="http://schemas.openxmlformats.org/drawingml/2006/main">
            <a:ext uri="{FF2B5EF4-FFF2-40B4-BE49-F238E27FC236}">
              <a16:creationId xmlns:a16="http://schemas.microsoft.com/office/drawing/2014/main" id="{7156FD52-3C47-DD84-066D-220FDE4AC432}"/>
            </a:ext>
          </a:extLst>
        </cdr:cNvPr>
        <cdr:cNvSpPr/>
      </cdr:nvSpPr>
      <cdr:spPr>
        <a:xfrm xmlns:a="http://schemas.openxmlformats.org/drawingml/2006/main">
          <a:off x="3802185" y="1144953"/>
          <a:ext cx="344760" cy="577119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2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1">
          <a:schemeClr val="accent5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41319</cdr:x>
      <cdr:y>0.44737</cdr:y>
    </cdr:from>
    <cdr:to>
      <cdr:x>0.45056</cdr:x>
      <cdr:y>0.80989</cdr:y>
    </cdr:to>
    <cdr:sp macro="" textlink="">
      <cdr:nvSpPr>
        <cdr:cNvPr id="6" name="Right Brace 5">
          <a:extLst xmlns:a="http://schemas.openxmlformats.org/drawingml/2006/main">
            <a:ext uri="{FF2B5EF4-FFF2-40B4-BE49-F238E27FC236}">
              <a16:creationId xmlns:a16="http://schemas.microsoft.com/office/drawing/2014/main" id="{7D101A4B-9065-AE5C-6FEB-B03304BD3E92}"/>
            </a:ext>
          </a:extLst>
        </cdr:cNvPr>
        <cdr:cNvSpPr/>
      </cdr:nvSpPr>
      <cdr:spPr>
        <a:xfrm xmlns:a="http://schemas.openxmlformats.org/drawingml/2006/main">
          <a:off x="3811953" y="1809261"/>
          <a:ext cx="344760" cy="1466119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chemeClr val="accent4"/>
          </a:solidFill>
        </a:ln>
      </cdr:spPr>
      <cdr:style>
        <a:lnRef xmlns:a="http://schemas.openxmlformats.org/drawingml/2006/main" idx="2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1">
          <a:schemeClr val="accent5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8333</cdr:x>
      <cdr:y>0.71783</cdr:y>
    </cdr:from>
    <cdr:to>
      <cdr:x>0.72894</cdr:x>
      <cdr:y>0.98218</cdr:y>
    </cdr:to>
    <cdr:sp macro="" textlink="">
      <cdr:nvSpPr>
        <cdr:cNvPr id="3" name="Rectangle: Single Corner Rounded 2">
          <a:extLst xmlns:a="http://schemas.openxmlformats.org/drawingml/2006/main">
            <a:ext uri="{FF2B5EF4-FFF2-40B4-BE49-F238E27FC236}">
              <a16:creationId xmlns:a16="http://schemas.microsoft.com/office/drawing/2014/main" id="{6D384799-54EF-E35D-D76A-AB5AE24C4D3B}"/>
            </a:ext>
          </a:extLst>
        </cdr:cNvPr>
        <cdr:cNvSpPr/>
      </cdr:nvSpPr>
      <cdr:spPr>
        <a:xfrm xmlns:a="http://schemas.openxmlformats.org/drawingml/2006/main">
          <a:off x="3663203" y="2482944"/>
          <a:ext cx="914400" cy="914400"/>
        </a:xfrm>
        <a:prstGeom xmlns:a="http://schemas.openxmlformats.org/drawingml/2006/main" prst="round1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5421</cdr:x>
      <cdr:y>0.37076</cdr:y>
    </cdr:from>
    <cdr:to>
      <cdr:x>0.744</cdr:x>
      <cdr:y>0.45931</cdr:y>
    </cdr:to>
    <cdr:sp macro="" textlink="">
      <cdr:nvSpPr>
        <cdr:cNvPr id="5" name="Rectangle 4">
          <a:extLst xmlns:a="http://schemas.openxmlformats.org/drawingml/2006/main">
            <a:ext uri="{FF2B5EF4-FFF2-40B4-BE49-F238E27FC236}">
              <a16:creationId xmlns:a16="http://schemas.microsoft.com/office/drawing/2014/main" id="{F53A7C6F-1E67-87CC-7C47-6E805B6F495A}"/>
            </a:ext>
          </a:extLst>
        </cdr:cNvPr>
        <cdr:cNvSpPr/>
      </cdr:nvSpPr>
      <cdr:spPr>
        <a:xfrm xmlns:a="http://schemas.openxmlformats.org/drawingml/2006/main" rot="20433391">
          <a:off x="340447" y="1282448"/>
          <a:ext cx="4331684" cy="30629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en-US"/>
            <a:t>EXAMPLE</a:t>
          </a:r>
          <a:r>
            <a:rPr lang="en-US" baseline="0"/>
            <a:t> ONLY</a:t>
          </a:r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60F301E8-E289-48D0-ABF0-95C33D88037C}" type="datetimeFigureOut">
              <a:rPr lang="en-GB" smtClean="0"/>
              <a:t>03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FD18ADFE-BC71-4CB2-9A91-7EA532B994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884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FD18ADFE-BC71-4CB2-9A91-7EA532B9946A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35595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 dirty="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1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D982A-836F-3A43-8824-BFCE6867DDA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1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5179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 dirty="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1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D982A-836F-3A43-8824-BFCE6867DDA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1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9514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1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D982A-836F-3A43-8824-BFCE6867DDA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1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63109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 dirty="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711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D982A-836F-3A43-8824-BFCE6867DDA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711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9514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9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4.emf"/><Relationship Id="rId4" Type="http://schemas.openxmlformats.org/officeDocument/2006/relationships/image" Target="../media/image7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13.png"/><Relationship Id="rId4" Type="http://schemas.openxmlformats.org/officeDocument/2006/relationships/image" Target="../media/image20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4.emf"/><Relationship Id="rId4" Type="http://schemas.openxmlformats.org/officeDocument/2006/relationships/image" Target="../media/image77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7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1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5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7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87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5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8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5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1.png"/><Relationship Id="rId4" Type="http://schemas.openxmlformats.org/officeDocument/2006/relationships/image" Target="../media/image82.png"/></Relationships>
</file>

<file path=ppt/slideLayouts/_rels/slideLayout12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2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85.svg"/><Relationship Id="rId4" Type="http://schemas.openxmlformats.org/officeDocument/2006/relationships/image" Target="../media/image36.png"/></Relationships>
</file>

<file path=ppt/slideLayouts/_rels/slideLayout128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2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4.emf"/><Relationship Id="rId4" Type="http://schemas.openxmlformats.org/officeDocument/2006/relationships/image" Target="../media/image23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5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90.png"/><Relationship Id="rId5" Type="http://schemas.openxmlformats.org/officeDocument/2006/relationships/image" Target="../media/image48.png"/><Relationship Id="rId4" Type="http://schemas.openxmlformats.org/officeDocument/2006/relationships/image" Target="../media/image89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3.png"/><Relationship Id="rId4" Type="http://schemas.openxmlformats.org/officeDocument/2006/relationships/image" Target="../media/image24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53.png"/><Relationship Id="rId5" Type="http://schemas.openxmlformats.org/officeDocument/2006/relationships/image" Target="../media/image92.emf"/><Relationship Id="rId4" Type="http://schemas.openxmlformats.org/officeDocument/2006/relationships/oleObject" Target="../embeddings/oleObject2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.xml"/><Relationship Id="rId5" Type="http://schemas.openxmlformats.org/officeDocument/2006/relationships/image" Target="../media/image93.png"/><Relationship Id="rId4" Type="http://schemas.openxmlformats.org/officeDocument/2006/relationships/image" Target="../media/image92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.xml"/><Relationship Id="rId5" Type="http://schemas.openxmlformats.org/officeDocument/2006/relationships/image" Target="../media/image13.png"/><Relationship Id="rId4" Type="http://schemas.openxmlformats.org/officeDocument/2006/relationships/image" Target="../media/image92.emf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emf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7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56.png"/><Relationship Id="rId5" Type="http://schemas.openxmlformats.org/officeDocument/2006/relationships/image" Target="../media/image92.emf"/><Relationship Id="rId4" Type="http://schemas.openxmlformats.org/officeDocument/2006/relationships/oleObject" Target="../embeddings/oleObject26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9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8.jpeg"/><Relationship Id="rId5" Type="http://schemas.openxmlformats.org/officeDocument/2006/relationships/image" Target="../media/image92.emf"/><Relationship Id="rId4" Type="http://schemas.openxmlformats.org/officeDocument/2006/relationships/oleObject" Target="../embeddings/oleObject2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1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53.png"/><Relationship Id="rId5" Type="http://schemas.openxmlformats.org/officeDocument/2006/relationships/image" Target="../media/image92.emf"/><Relationship Id="rId4" Type="http://schemas.openxmlformats.org/officeDocument/2006/relationships/oleObject" Target="../embeddings/oleObject2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62.png"/><Relationship Id="rId5" Type="http://schemas.openxmlformats.org/officeDocument/2006/relationships/image" Target="../media/image92.emf"/><Relationship Id="rId4" Type="http://schemas.openxmlformats.org/officeDocument/2006/relationships/oleObject" Target="../embeddings/oleObject29.bin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png"/><Relationship Id="rId4" Type="http://schemas.openxmlformats.org/officeDocument/2006/relationships/image" Target="../media/image25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8.xml"/><Relationship Id="rId4" Type="http://schemas.openxmlformats.org/officeDocument/2006/relationships/image" Target="../media/image92.emf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0.xml"/><Relationship Id="rId5" Type="http://schemas.openxmlformats.org/officeDocument/2006/relationships/image" Target="../media/image13.png"/><Relationship Id="rId4" Type="http://schemas.openxmlformats.org/officeDocument/2006/relationships/image" Target="../media/image94.emf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.xml"/><Relationship Id="rId6" Type="http://schemas.openxmlformats.org/officeDocument/2006/relationships/image" Target="../media/image14.emf"/><Relationship Id="rId5" Type="http://schemas.openxmlformats.org/officeDocument/2006/relationships/image" Target="../media/image13.png"/><Relationship Id="rId4" Type="http://schemas.openxmlformats.org/officeDocument/2006/relationships/image" Target="../media/image95.emf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14.emf"/><Relationship Id="rId5" Type="http://schemas.openxmlformats.org/officeDocument/2006/relationships/image" Target="../media/image13.png"/><Relationship Id="rId4" Type="http://schemas.openxmlformats.org/officeDocument/2006/relationships/image" Target="../media/image26.emf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Relationship Id="rId5" Type="http://schemas.openxmlformats.org/officeDocument/2006/relationships/image" Target="../media/image55.emf"/><Relationship Id="rId4" Type="http://schemas.openxmlformats.org/officeDocument/2006/relationships/image" Target="../media/image54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Relationship Id="rId5" Type="http://schemas.openxmlformats.org/officeDocument/2006/relationships/image" Target="../media/image55.emf"/><Relationship Id="rId4" Type="http://schemas.openxmlformats.org/officeDocument/2006/relationships/image" Target="../media/image57.pn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5.xml"/><Relationship Id="rId4" Type="http://schemas.openxmlformats.org/officeDocument/2006/relationships/image" Target="../media/image59.pn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6.xml"/><Relationship Id="rId4" Type="http://schemas.openxmlformats.org/officeDocument/2006/relationships/image" Target="../media/image14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8.xml"/><Relationship Id="rId4" Type="http://schemas.openxmlformats.org/officeDocument/2006/relationships/image" Target="../media/image14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9.xml"/><Relationship Id="rId4" Type="http://schemas.openxmlformats.org/officeDocument/2006/relationships/image" Target="../media/image14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4.emf"/><Relationship Id="rId5" Type="http://schemas.openxmlformats.org/officeDocument/2006/relationships/image" Target="../media/image13.png"/><Relationship Id="rId4" Type="http://schemas.openxmlformats.org/officeDocument/2006/relationships/image" Target="../media/image27.emf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2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3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6.xml"/><Relationship Id="rId4" Type="http://schemas.openxmlformats.org/officeDocument/2006/relationships/image" Target="../media/image14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7.xml"/><Relationship Id="rId4" Type="http://schemas.openxmlformats.org/officeDocument/2006/relationships/image" Target="../media/image14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8.xml"/><Relationship Id="rId6" Type="http://schemas.openxmlformats.org/officeDocument/2006/relationships/image" Target="../media/image14.emf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9.xml"/><Relationship Id="rId6" Type="http://schemas.openxmlformats.org/officeDocument/2006/relationships/image" Target="../media/image14.emf"/><Relationship Id="rId5" Type="http://schemas.openxmlformats.org/officeDocument/2006/relationships/image" Target="../media/image98.png"/><Relationship Id="rId4" Type="http://schemas.openxmlformats.org/officeDocument/2006/relationships/image" Target="../media/image99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8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0.xml"/><Relationship Id="rId4" Type="http://schemas.openxmlformats.org/officeDocument/2006/relationships/image" Target="../media/image6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14.emf"/><Relationship Id="rId5" Type="http://schemas.openxmlformats.org/officeDocument/2006/relationships/image" Target="../media/image13.png"/><Relationship Id="rId4" Type="http://schemas.openxmlformats.org/officeDocument/2006/relationships/image" Target="../media/image28.emf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1.xml"/><Relationship Id="rId4" Type="http://schemas.openxmlformats.org/officeDocument/2006/relationships/image" Target="../media/image63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svg"/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svg"/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svg"/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svg"/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30.png"/><Relationship Id="rId4" Type="http://schemas.openxmlformats.org/officeDocument/2006/relationships/image" Target="../media/image29.emf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svg"/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svg"/><Relationship Id="rId2" Type="http://schemas.openxmlformats.org/officeDocument/2006/relationships/image" Target="../media/image109.png"/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svg"/><Relationship Id="rId2" Type="http://schemas.openxmlformats.org/officeDocument/2006/relationships/image" Target="../media/image111.png"/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svg"/><Relationship Id="rId2" Type="http://schemas.openxmlformats.org/officeDocument/2006/relationships/image" Target="../media/image11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08.svg"/><Relationship Id="rId4" Type="http://schemas.openxmlformats.org/officeDocument/2006/relationships/image" Target="../media/image107.png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3.jpe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svg"/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svg"/><Relationship Id="rId2" Type="http://schemas.openxmlformats.org/officeDocument/2006/relationships/image" Target="../media/image115.png"/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svg"/><Relationship Id="rId2" Type="http://schemas.openxmlformats.org/officeDocument/2006/relationships/image" Target="../media/image117.png"/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svg"/><Relationship Id="rId2" Type="http://schemas.openxmlformats.org/officeDocument/2006/relationships/image" Target="../media/image117.png"/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9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png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9.jpeg"/><Relationship Id="rId4" Type="http://schemas.openxmlformats.org/officeDocument/2006/relationships/image" Target="../media/image1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5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png"/><Relationship Id="rId5" Type="http://schemas.openxmlformats.org/officeDocument/2006/relationships/image" Target="../media/image48.png"/><Relationship Id="rId4" Type="http://schemas.openxmlformats.org/officeDocument/2006/relationships/image" Target="../media/image4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2.png"/><Relationship Id="rId4" Type="http://schemas.openxmlformats.org/officeDocument/2006/relationships/image" Target="../media/image33.jpe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4.emf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8.jpe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9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5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5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3.png"/><Relationship Id="rId4" Type="http://schemas.openxmlformats.org/officeDocument/2006/relationships/image" Target="../media/image15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5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png"/><Relationship Id="rId5" Type="http://schemas.openxmlformats.org/officeDocument/2006/relationships/image" Target="../media/image48.png"/><Relationship Id="rId4" Type="http://schemas.openxmlformats.org/officeDocument/2006/relationships/image" Target="../media/image44.sv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6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5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5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4.emf"/><Relationship Id="rId5" Type="http://schemas.openxmlformats.org/officeDocument/2006/relationships/image" Target="../media/image13.png"/><Relationship Id="rId4" Type="http://schemas.openxmlformats.org/officeDocument/2006/relationships/image" Target="../media/image17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14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14.emf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5.xml"/><Relationship Id="rId6" Type="http://schemas.microsoft.com/office/2007/relationships/hdphoto" Target="../media/hdphoto4.wdp"/><Relationship Id="rId5" Type="http://schemas.openxmlformats.org/officeDocument/2006/relationships/image" Target="../media/image71.png"/><Relationship Id="rId4" Type="http://schemas.openxmlformats.org/officeDocument/2006/relationships/image" Target="../media/image70.jpe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5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3.png"/><Relationship Id="rId4" Type="http://schemas.openxmlformats.org/officeDocument/2006/relationships/image" Target="../media/image18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3.png"/><Relationship Id="rId4" Type="http://schemas.openxmlformats.org/officeDocument/2006/relationships/image" Target="../media/image14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EC4018-B664-8546-8055-27CDB3125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0929952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EC4018-B664-8546-8055-27CDB3125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0"/>
            <a:ext cx="7375650" cy="1655763"/>
          </a:xfrm>
        </p:spPr>
        <p:txBody>
          <a:bodyPr vert="horz" anchor="b">
            <a:noAutofit/>
          </a:bodyPr>
          <a:lstStyle>
            <a:lvl1pPr algn="l">
              <a:spcBef>
                <a:spcPts val="0"/>
              </a:spcBef>
              <a:defRPr sz="39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8"/>
            <a:ext cx="7375650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9" indent="0" algn="ctr">
              <a:buNone/>
              <a:defRPr sz="2000"/>
            </a:lvl2pPr>
            <a:lvl3pPr marL="914217" indent="0" algn="ctr">
              <a:buNone/>
              <a:defRPr sz="1800"/>
            </a:lvl3pPr>
            <a:lvl4pPr marL="1371326" indent="0" algn="ctr">
              <a:buNone/>
              <a:defRPr sz="1600"/>
            </a:lvl4pPr>
            <a:lvl5pPr marL="1828434" indent="0" algn="ctr">
              <a:buNone/>
              <a:defRPr sz="1600"/>
            </a:lvl5pPr>
            <a:lvl6pPr marL="2285543" indent="0" algn="ctr">
              <a:buNone/>
              <a:defRPr sz="1600"/>
            </a:lvl6pPr>
            <a:lvl7pPr marL="2742651" indent="0" algn="ctr">
              <a:buNone/>
              <a:defRPr sz="1600"/>
            </a:lvl7pPr>
            <a:lvl8pPr marL="3199760" indent="0" algn="ctr">
              <a:buNone/>
              <a:defRPr sz="1600"/>
            </a:lvl8pPr>
            <a:lvl9pPr marL="36568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322" y="916283"/>
            <a:ext cx="2792832" cy="791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732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72F4E6-B5B6-FD4F-9D4D-12AB39F52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038603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72F4E6-B5B6-FD4F-9D4D-12AB39F52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23112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957381" cy="811921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957381" cy="4766452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17" y="1410511"/>
            <a:ext cx="4099641" cy="4766452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315367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957381" cy="8119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957381" cy="476645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7" y="365128"/>
            <a:ext cx="4099641" cy="5811837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628480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0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80" y="365129"/>
            <a:ext cx="5957381" cy="8119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80" y="1410511"/>
            <a:ext cx="5957381" cy="476645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3" y="0"/>
            <a:ext cx="4900972" cy="68580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8AC9FD-618E-B24B-9587-DE9E8F9E1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6212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1"/>
            <a:ext cx="5181600" cy="47664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1"/>
            <a:ext cx="5181600" cy="47664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5054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81192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40695"/>
            <a:ext cx="5157787" cy="823912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316269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340695"/>
            <a:ext cx="5183188" cy="823912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316269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8831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75712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>
            <a:noAutofit/>
          </a:bodyPr>
          <a:lstStyle>
            <a:lvl1pPr>
              <a:defRPr sz="27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11922"/>
            <a:ext cx="3932237" cy="365706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DB2E16-32A4-AF4B-9059-DD4B3639E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95216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11922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2DF55B-0C82-0C4F-A4E7-7BE9E9694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95646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912B50-56C0-E042-933C-5F60016A64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69AE5BB-E509-BD44-9B19-3673A2CE2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33379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ultu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 userDrawn="1"/>
        </p:nvGrpSpPr>
        <p:grpSpPr>
          <a:xfrm>
            <a:off x="4373" y="0"/>
            <a:ext cx="12187631" cy="6858000"/>
            <a:chOff x="8739" y="-1"/>
            <a:chExt cx="24378435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9" y="5723738"/>
              <a:ext cx="799226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739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774389" cy="811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F8B860-788E-C94C-8B7F-A0F8612C5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096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2CD54DA-B9DB-3245-9BF7-CD4503F71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747440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2CD54DA-B9DB-3245-9BF7-CD4503F71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 userDrawn="1"/>
        </p:nvSpPr>
        <p:spPr>
          <a:xfrm>
            <a:off x="7367404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2"/>
            <a:ext cx="6220899" cy="547705"/>
          </a:xfrm>
        </p:spPr>
        <p:txBody>
          <a:bodyPr vert="horz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9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28"/>
            <a:ext cx="6220899" cy="490160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87079"/>
            <a:ext cx="6221287" cy="354271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6" y="0"/>
            <a:ext cx="4824596" cy="3429000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2" y="3667919"/>
            <a:ext cx="3952063" cy="2679718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337036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lob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-1"/>
            <a:chExt cx="24387174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29" y="5723738"/>
              <a:ext cx="798888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774389" cy="811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0026E35-AE92-3445-9E54-A0E496165B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869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AT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C47A49E-927A-1344-A669-95309DFE1783}"/>
              </a:ext>
            </a:extLst>
          </p:cNvPr>
          <p:cNvGrpSpPr/>
          <p:nvPr userDrawn="1"/>
        </p:nvGrpSpPr>
        <p:grpSpPr>
          <a:xfrm>
            <a:off x="5214" y="0"/>
            <a:ext cx="12192203" cy="6858000"/>
            <a:chOff x="10429" y="-1"/>
            <a:chExt cx="24387581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429" y="-1"/>
              <a:ext cx="24366316" cy="1371600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104CA5-8EFF-954C-B094-7039A51926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4813" y="5724144"/>
              <a:ext cx="7983197" cy="799185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925124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29"/>
            <a:ext cx="5774389" cy="81192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1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897605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5" y="2707345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1330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5" y="2707345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25221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3" cy="318491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4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9" y="1287496"/>
            <a:ext cx="10985503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2" y="3611596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1pPr>
            <a:lvl2pPr marL="0" indent="228594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2pPr>
            <a:lvl3pPr marL="0" indent="457189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3pPr>
            <a:lvl4pPr marL="0" indent="685783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4pPr>
            <a:lvl5pPr marL="0" indent="914377" defTabSz="412740">
              <a:lnSpc>
                <a:spcPct val="100000"/>
              </a:lnSpc>
              <a:spcBef>
                <a:spcPts val="0"/>
              </a:spcBef>
              <a:buSzTx/>
              <a:buNone/>
              <a:defRPr sz="2751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0649313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>
            <a:extLst>
              <a:ext uri="{FF2B5EF4-FFF2-40B4-BE49-F238E27FC236}">
                <a16:creationId xmlns:a16="http://schemas.microsoft.com/office/drawing/2014/main" id="{5723CC0C-7902-41D1-8F75-C9F71EF6B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5818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 flip="none" rotWithShape="1">
          <a:gsLst>
            <a:gs pos="78000">
              <a:schemeClr val="bg2"/>
            </a:gs>
            <a:gs pos="28000">
              <a:schemeClr val="accent2"/>
            </a:gs>
            <a:gs pos="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89010" cy="5687568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0" y="5688964"/>
            <a:ext cx="12192000" cy="1169037"/>
          </a:xfrm>
          <a:prstGeom prst="rect">
            <a:avLst/>
          </a:prstGeom>
          <a:solidFill>
            <a:srgbClr val="FFFFFF"/>
          </a:solidFill>
          <a:ln w="98425">
            <a:noFill/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en-US" sz="1600" b="0" i="0" kern="0">
                <a:solidFill>
                  <a:srgbClr val="FFFFFF"/>
                </a:solidFill>
                <a:latin typeface="Montserrat" pitchFamily="2" charset="77"/>
                <a:cs typeface="Arial"/>
                <a:sym typeface="Helvetica Neue Medium"/>
              </a:rPr>
              <a:t>P</a:t>
            </a: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5898313" y="6046843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BCD88D3-776E-472A-2219-A8265AB7AD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2C3CC04-FF47-4CB5-B3C0-5E97562BB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4" name="Picture 13" descr="A picture containing graphics, font, red, logo&#10;&#10;Description automatically generated">
            <a:extLst>
              <a:ext uri="{FF2B5EF4-FFF2-40B4-BE49-F238E27FC236}">
                <a16:creationId xmlns:a16="http://schemas.microsoft.com/office/drawing/2014/main" id="{CCE67F73-8ED4-DA52-674A-2E7312BC31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593" y="6170814"/>
            <a:ext cx="1178418" cy="296085"/>
          </a:xfrm>
          <a:prstGeom prst="rect">
            <a:avLst/>
          </a:prstGeom>
        </p:spPr>
      </p:pic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178FA09-03CD-F586-0DB1-8D5961FF7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8255" y="6175040"/>
            <a:ext cx="1442594" cy="3339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489B313-F09E-ECF4-1A0B-192537A8AAD2}"/>
              </a:ext>
            </a:extLst>
          </p:cNvPr>
          <p:cNvSpPr txBox="1"/>
          <p:nvPr userDrawn="1"/>
        </p:nvSpPr>
        <p:spPr>
          <a:xfrm>
            <a:off x="5124767" y="6619889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/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6885706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Experiences">
    <p:bg>
      <p:bgPr>
        <a:gradFill>
          <a:gsLst>
            <a:gs pos="100000">
              <a:schemeClr val="bg2"/>
            </a:gs>
            <a:gs pos="52000">
              <a:schemeClr val="accent2"/>
            </a:gs>
            <a:gs pos="0">
              <a:schemeClr val="accent1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67DA4C7-E533-BEB9-321E-55EC7149D2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6" y="0"/>
            <a:ext cx="12222566" cy="68580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9F69FD-980C-78AB-897F-669226AEB874}"/>
              </a:ext>
            </a:extLst>
          </p:cNvPr>
          <p:cNvGrpSpPr/>
          <p:nvPr userDrawn="1"/>
        </p:nvGrpSpPr>
        <p:grpSpPr>
          <a:xfrm>
            <a:off x="1843570" y="3231478"/>
            <a:ext cx="8504862" cy="1234197"/>
            <a:chOff x="3296248" y="6314100"/>
            <a:chExt cx="17011938" cy="2468394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A0732C55-6C1F-2C5D-5906-4B4294BC1FE3}"/>
                </a:ext>
              </a:extLst>
            </p:cNvPr>
            <p:cNvSpPr txBox="1">
              <a:spLocks/>
            </p:cNvSpPr>
            <p:nvPr/>
          </p:nvSpPr>
          <p:spPr>
            <a:xfrm>
              <a:off x="3296248" y="6314100"/>
              <a:ext cx="17011938" cy="24683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3F459E-8E82-9949-2E2A-48FAD87558AC}"/>
                </a:ext>
              </a:extLst>
            </p:cNvPr>
            <p:cNvSpPr/>
            <p:nvPr/>
          </p:nvSpPr>
          <p:spPr>
            <a:xfrm>
              <a:off x="5294574" y="6717392"/>
              <a:ext cx="13015281" cy="1672828"/>
            </a:xfrm>
            <a:prstGeom prst="rect">
              <a:avLst/>
            </a:prstGeom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ctr" defTabSz="412626">
                <a:defRPr/>
              </a:pP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 Black" panose="020B0604020202020204" pitchFamily="34" charset="0"/>
                  <a:sym typeface="Arial"/>
                </a:rPr>
                <a:t>experiences</a:t>
              </a: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 that </a:t>
              </a:r>
              <a:r>
                <a:rPr lang="en-US" sz="4400" b="1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matte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62BFF3-DC7B-6C07-E632-CF752B0B467E}"/>
              </a:ext>
            </a:extLst>
          </p:cNvPr>
          <p:cNvGrpSpPr/>
          <p:nvPr userDrawn="1"/>
        </p:nvGrpSpPr>
        <p:grpSpPr>
          <a:xfrm>
            <a:off x="1538952" y="2843346"/>
            <a:ext cx="2182673" cy="620278"/>
            <a:chOff x="2548425" y="5309101"/>
            <a:chExt cx="4365914" cy="1240556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FA9722BB-6E5F-5A02-D984-FCA4E32773DF}"/>
                </a:ext>
              </a:extLst>
            </p:cNvPr>
            <p:cNvSpPr txBox="1">
              <a:spLocks/>
            </p:cNvSpPr>
            <p:nvPr/>
          </p:nvSpPr>
          <p:spPr>
            <a:xfrm>
              <a:off x="2548425" y="5309101"/>
              <a:ext cx="4365914" cy="124055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71393D-2666-2764-F7D8-3F2080F9181C}"/>
                </a:ext>
              </a:extLst>
            </p:cNvPr>
            <p:cNvSpPr/>
            <p:nvPr/>
          </p:nvSpPr>
          <p:spPr>
            <a:xfrm>
              <a:off x="3247704" y="5565923"/>
              <a:ext cx="2967354" cy="86177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412626">
                <a:defRPr/>
              </a:pPr>
              <a:r>
                <a:rPr lang="en-US" sz="2200" b="0" i="0" kern="0">
                  <a:solidFill>
                    <a:srgbClr val="121212"/>
                  </a:solidFill>
                  <a:latin typeface="Montserrat" pitchFamily="2" charset="77"/>
                  <a:cs typeface="Arial" panose="020B0604020202020204" pitchFamily="34" charset="0"/>
                  <a:sym typeface="Arial"/>
                </a:rPr>
                <a:t>we make</a:t>
              </a:r>
            </a:p>
          </p:txBody>
        </p:sp>
      </p:grp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4DE4832-F469-563D-53EF-A57EB4EED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5369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Client Colo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DD050250-4356-689B-2314-9317F0351A2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0DABF64-4136-BCC0-8272-C37E8D35FF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59367C9-A8F7-7122-D2D0-269CAF48C8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17098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logo">
    <p:bg>
      <p:bgPr>
        <a:gradFill>
          <a:gsLst>
            <a:gs pos="98000">
              <a:schemeClr val="bg2"/>
            </a:gs>
            <a:gs pos="0">
              <a:schemeClr val="accent1"/>
            </a:gs>
            <a:gs pos="48000">
              <a:schemeClr val="accent2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4AFB12-161B-3BB9-3858-7A0D9CAFB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751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74CF084-7AE3-C24F-889F-B53F345214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686405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74CF084-7AE3-C24F-889F-B53F345214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1"/>
            <a:ext cx="5957382" cy="4766453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13" y="1410511"/>
            <a:ext cx="4099641" cy="4766453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0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05289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Break: logo">
    <p:bg>
      <p:bgPr>
        <a:gradFill>
          <a:gsLst>
            <a:gs pos="98000">
              <a:schemeClr val="bg2"/>
            </a:gs>
            <a:gs pos="0">
              <a:schemeClr val="accent1"/>
            </a:gs>
            <a:gs pos="48000">
              <a:schemeClr val="accent2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4AFB12-161B-3BB9-3858-7A0D9CAFB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1579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Break: logo">
    <p:bg>
      <p:bgPr>
        <a:gradFill>
          <a:gsLst>
            <a:gs pos="98000">
              <a:schemeClr val="bg2"/>
            </a:gs>
            <a:gs pos="0">
              <a:schemeClr val="accent1"/>
            </a:gs>
            <a:gs pos="48000">
              <a:schemeClr val="accent2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4AFB12-161B-3BB9-3858-7A0D9CAFB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2658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Break: logo">
    <p:bg>
      <p:bgPr>
        <a:gradFill>
          <a:gsLst>
            <a:gs pos="98000">
              <a:schemeClr val="bg2"/>
            </a:gs>
            <a:gs pos="0">
              <a:schemeClr val="accent1"/>
            </a:gs>
            <a:gs pos="48000">
              <a:schemeClr val="accent2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4AFB12-161B-3BB9-3858-7A0D9CAFB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03915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Break: logo">
    <p:bg>
      <p:bgPr>
        <a:gradFill>
          <a:gsLst>
            <a:gs pos="98000">
              <a:schemeClr val="bg2"/>
            </a:gs>
            <a:gs pos="0">
              <a:schemeClr val="accent1"/>
            </a:gs>
            <a:gs pos="48000">
              <a:schemeClr val="accent2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31033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gradFill>
          <a:gsLst>
            <a:gs pos="0">
              <a:schemeClr val="accent1"/>
            </a:gs>
            <a:gs pos="48000">
              <a:schemeClr val="accent2"/>
            </a:gs>
            <a:gs pos="99000">
              <a:schemeClr val="bg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56EB70-579B-002F-D996-4D93BE28F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145565B-33BF-0CCC-7BFE-310AC8FEDE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388273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gradFill flip="none" rotWithShape="1">
          <a:gsLst>
            <a:gs pos="78000">
              <a:schemeClr val="bg2"/>
            </a:gs>
            <a:gs pos="28000">
              <a:schemeClr val="accent2"/>
            </a:gs>
            <a:gs pos="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688963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0" y="5688964"/>
            <a:ext cx="12192000" cy="1169037"/>
          </a:xfrm>
          <a:prstGeom prst="rect">
            <a:avLst/>
          </a:prstGeom>
          <a:solidFill>
            <a:srgbClr val="FFFFFF"/>
          </a:solidFill>
          <a:ln w="98425">
            <a:noFill/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5898313" y="6046843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BCD88D3-776E-472A-2219-A8265AB7AD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2C3CC04-FF47-4CB5-B3C0-5E97562BB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4" name="Picture 13" descr="A picture containing graphics, font, red, logo&#10;&#10;Description automatically generated">
            <a:extLst>
              <a:ext uri="{FF2B5EF4-FFF2-40B4-BE49-F238E27FC236}">
                <a16:creationId xmlns:a16="http://schemas.microsoft.com/office/drawing/2014/main" id="{CCE67F73-8ED4-DA52-674A-2E7312BC316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593" y="6170814"/>
            <a:ext cx="1178418" cy="296085"/>
          </a:xfrm>
          <a:prstGeom prst="rect">
            <a:avLst/>
          </a:prstGeom>
        </p:spPr>
      </p:pic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178FA09-03CD-F586-0DB1-8D5961FF7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8255" y="6151890"/>
            <a:ext cx="1442594" cy="333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432636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: Experiences">
    <p:bg>
      <p:bgPr>
        <a:gradFill>
          <a:gsLst>
            <a:gs pos="100000">
              <a:schemeClr val="bg2"/>
            </a:gs>
            <a:gs pos="52000">
              <a:schemeClr val="accent2"/>
            </a:gs>
            <a:gs pos="0">
              <a:schemeClr val="accent1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67DA4C7-E533-BEB9-321E-55EC7149D2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6" y="0"/>
            <a:ext cx="12222566" cy="68580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9F69FD-980C-78AB-897F-669226AEB874}"/>
              </a:ext>
            </a:extLst>
          </p:cNvPr>
          <p:cNvGrpSpPr/>
          <p:nvPr userDrawn="1"/>
        </p:nvGrpSpPr>
        <p:grpSpPr>
          <a:xfrm>
            <a:off x="1843570" y="3231478"/>
            <a:ext cx="8504862" cy="1234197"/>
            <a:chOff x="3296248" y="6314100"/>
            <a:chExt cx="17011938" cy="2468394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A0732C55-6C1F-2C5D-5906-4B4294BC1FE3}"/>
                </a:ext>
              </a:extLst>
            </p:cNvPr>
            <p:cNvSpPr txBox="1">
              <a:spLocks/>
            </p:cNvSpPr>
            <p:nvPr/>
          </p:nvSpPr>
          <p:spPr>
            <a:xfrm>
              <a:off x="3296248" y="6314100"/>
              <a:ext cx="17011938" cy="24683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3F459E-8E82-9949-2E2A-48FAD87558AC}"/>
                </a:ext>
              </a:extLst>
            </p:cNvPr>
            <p:cNvSpPr/>
            <p:nvPr/>
          </p:nvSpPr>
          <p:spPr>
            <a:xfrm>
              <a:off x="5294574" y="6717392"/>
              <a:ext cx="13015281" cy="1672828"/>
            </a:xfrm>
            <a:prstGeom prst="rect">
              <a:avLst/>
            </a:prstGeom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ctr" defTabSz="412626">
                <a:defRPr/>
              </a:pP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 Black" panose="020B0604020202020204" pitchFamily="34" charset="0"/>
                  <a:sym typeface="Arial"/>
                </a:rPr>
                <a:t>experiences</a:t>
              </a: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 that </a:t>
              </a:r>
              <a:r>
                <a:rPr lang="en-US" sz="4400" b="1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matte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62BFF3-DC7B-6C07-E632-CF752B0B467E}"/>
              </a:ext>
            </a:extLst>
          </p:cNvPr>
          <p:cNvGrpSpPr/>
          <p:nvPr userDrawn="1"/>
        </p:nvGrpSpPr>
        <p:grpSpPr>
          <a:xfrm>
            <a:off x="1538952" y="2843346"/>
            <a:ext cx="2182673" cy="620278"/>
            <a:chOff x="2548425" y="5309101"/>
            <a:chExt cx="4365914" cy="1240556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FA9722BB-6E5F-5A02-D984-FCA4E32773DF}"/>
                </a:ext>
              </a:extLst>
            </p:cNvPr>
            <p:cNvSpPr txBox="1">
              <a:spLocks/>
            </p:cNvSpPr>
            <p:nvPr/>
          </p:nvSpPr>
          <p:spPr>
            <a:xfrm>
              <a:off x="2548425" y="5309101"/>
              <a:ext cx="4365914" cy="124055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71393D-2666-2764-F7D8-3F2080F9181C}"/>
                </a:ext>
              </a:extLst>
            </p:cNvPr>
            <p:cNvSpPr/>
            <p:nvPr/>
          </p:nvSpPr>
          <p:spPr>
            <a:xfrm>
              <a:off x="3247704" y="5565923"/>
              <a:ext cx="2967354" cy="86177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412626">
                <a:defRPr/>
              </a:pPr>
              <a:r>
                <a:rPr lang="en-US" sz="2200" b="0" i="0" kern="0">
                  <a:solidFill>
                    <a:srgbClr val="121212"/>
                  </a:solidFill>
                  <a:latin typeface="Montserrat" pitchFamily="2" charset="77"/>
                  <a:cs typeface="Arial" panose="020B0604020202020204" pitchFamily="34" charset="0"/>
                  <a:sym typeface="Arial"/>
                </a:rPr>
                <a:t>we make</a:t>
              </a:r>
            </a:p>
          </p:txBody>
        </p:sp>
      </p:grp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4DE4832-F469-563D-53EF-A57EB4EED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49684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: logo">
    <p:bg>
      <p:bgPr>
        <a:gradFill>
          <a:gsLst>
            <a:gs pos="98000">
              <a:schemeClr val="bg2"/>
            </a:gs>
            <a:gs pos="0">
              <a:schemeClr val="accent1"/>
            </a:gs>
            <a:gs pos="48000">
              <a:schemeClr val="accent2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4AFB12-161B-3BB9-3858-7A0D9CAFB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343"/>
            <a:ext cx="12192000" cy="6858000"/>
          </a:xfrm>
          <a:prstGeom prst="rect">
            <a:avLst/>
          </a:prstGeom>
        </p:spPr>
      </p:pic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31215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bg>
      <p:bgPr>
        <a:gradFill>
          <a:gsLst>
            <a:gs pos="0">
              <a:schemeClr val="accent1"/>
            </a:gs>
            <a:gs pos="48000">
              <a:schemeClr val="accent2"/>
            </a:gs>
            <a:gs pos="99000">
              <a:schemeClr val="bg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56EB70-579B-002F-D996-4D93BE28F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6" y="0"/>
            <a:ext cx="12222566" cy="6858000"/>
          </a:xfrm>
          <a:prstGeom prst="rect">
            <a:avLst/>
          </a:prstGeom>
        </p:spPr>
      </p:pic>
      <p:sp>
        <p:nvSpPr>
          <p:cNvPr id="2" name="Snip Single Corner Rectangle 1">
            <a:extLst>
              <a:ext uri="{FF2B5EF4-FFF2-40B4-BE49-F238E27FC236}">
                <a16:creationId xmlns:a16="http://schemas.microsoft.com/office/drawing/2014/main" id="{1268779D-ED17-8394-1BDC-1167D0FE1CA8}"/>
              </a:ext>
            </a:extLst>
          </p:cNvPr>
          <p:cNvSpPr/>
          <p:nvPr userDrawn="1"/>
        </p:nvSpPr>
        <p:spPr>
          <a:xfrm>
            <a:off x="1482070" y="2002465"/>
            <a:ext cx="9227859" cy="2853070"/>
          </a:xfrm>
          <a:prstGeom prst="snip1Rect">
            <a:avLst>
              <a:gd name="adj" fmla="val 0"/>
            </a:avLst>
          </a:prstGeom>
          <a:solidFill>
            <a:schemeClr val="bg1"/>
          </a:solidFill>
          <a:ln w="193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48B806-AC1B-EE30-761B-15B9B77D6A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45775" y="2549408"/>
            <a:ext cx="5500451" cy="1264538"/>
          </a:xfrm>
        </p:spPr>
        <p:txBody>
          <a:bodyPr anchor="ctr"/>
          <a:lstStyle>
            <a:lvl1pPr marL="0" indent="0" algn="ctr">
              <a:buNone/>
              <a:defRPr b="0" i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457109" indent="0" algn="ctr">
              <a:buNone/>
              <a:defRPr b="1" i="0">
                <a:latin typeface="Roboto Black" panose="02000000000000000000" pitchFamily="2" charset="0"/>
                <a:ea typeface="Roboto Black" panose="02000000000000000000" pitchFamily="2" charset="0"/>
              </a:defRPr>
            </a:lvl2pPr>
            <a:lvl3pPr marL="914217" indent="0" algn="ctr">
              <a:buNone/>
              <a:defRPr b="1" i="0">
                <a:latin typeface="Roboto Black" panose="02000000000000000000" pitchFamily="2" charset="0"/>
                <a:ea typeface="Roboto Black" panose="02000000000000000000" pitchFamily="2" charset="0"/>
              </a:defRPr>
            </a:lvl3pPr>
            <a:lvl4pPr marL="1371326" indent="0" algn="ctr">
              <a:buNone/>
              <a:defRPr b="1" i="0">
                <a:latin typeface="Roboto Black" panose="02000000000000000000" pitchFamily="2" charset="0"/>
                <a:ea typeface="Roboto Black" panose="02000000000000000000" pitchFamily="2" charset="0"/>
              </a:defRPr>
            </a:lvl4pPr>
            <a:lvl5pPr marL="1828434" indent="0" algn="ctr">
              <a:buNone/>
              <a:defRPr b="1" i="0">
                <a:latin typeface="Roboto Black" panose="02000000000000000000" pitchFamily="2" charset="0"/>
                <a:ea typeface="Roboto Black" panose="02000000000000000000" pitchFamily="2" charset="0"/>
              </a:defRPr>
            </a:lvl5pPr>
          </a:lstStyle>
          <a:p>
            <a:pPr lvl="0"/>
            <a:r>
              <a:rPr lang="en-US"/>
              <a:t>If you don’t know where you are going,</a:t>
            </a:r>
          </a:p>
          <a:p>
            <a:pPr lvl="0"/>
            <a:r>
              <a:rPr lang="en-US"/>
              <a:t>you’ll end up some place else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344517-910E-634D-A49A-33FF73A400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6169" y="3948114"/>
            <a:ext cx="4039662" cy="339725"/>
          </a:xfrm>
        </p:spPr>
        <p:txBody>
          <a:bodyPr anchor="ctr"/>
          <a:lstStyle>
            <a:lvl1pPr marL="0" indent="0" algn="ctr">
              <a:buFontTx/>
              <a:buNone/>
              <a:defRPr sz="900" b="1" i="0" spc="0">
                <a:solidFill>
                  <a:schemeClr val="tx1"/>
                </a:solidFill>
                <a:latin typeface="Montserrat" pitchFamily="2" charset="77"/>
              </a:defRPr>
            </a:lvl1pPr>
            <a:lvl2pPr marL="457109" indent="0" algn="ctr">
              <a:buFontTx/>
              <a:buNone/>
              <a:defRPr spc="300">
                <a:latin typeface="Montserrat" pitchFamily="2" charset="77"/>
              </a:defRPr>
            </a:lvl2pPr>
            <a:lvl3pPr marL="914217" indent="0" algn="ctr">
              <a:buFontTx/>
              <a:buNone/>
              <a:defRPr spc="300">
                <a:latin typeface="Montserrat" pitchFamily="2" charset="77"/>
              </a:defRPr>
            </a:lvl3pPr>
            <a:lvl4pPr marL="1371326" indent="0" algn="ctr">
              <a:buFontTx/>
              <a:buNone/>
              <a:defRPr spc="300">
                <a:latin typeface="Montserrat" pitchFamily="2" charset="77"/>
              </a:defRPr>
            </a:lvl4pPr>
            <a:lvl5pPr marL="1828434" indent="0" algn="ctr">
              <a:buFontTx/>
              <a:buNone/>
              <a:defRPr spc="300">
                <a:latin typeface="Montserrat" pitchFamily="2" charset="77"/>
              </a:defRPr>
            </a:lvl5pPr>
          </a:lstStyle>
          <a:p>
            <a:pPr lvl="0"/>
            <a:r>
              <a:rPr lang="en-US"/>
              <a:t>- YOGI BERR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F753F3-39ED-5F7F-8C2A-009DA9D5EF36}"/>
              </a:ext>
            </a:extLst>
          </p:cNvPr>
          <p:cNvSpPr txBox="1"/>
          <p:nvPr userDrawn="1"/>
        </p:nvSpPr>
        <p:spPr>
          <a:xfrm>
            <a:off x="1234462" y="978977"/>
            <a:ext cx="1423332" cy="3161763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algn="ctr"/>
            <a:r>
              <a:rPr lang="en-US" sz="19946" b="1" i="0">
                <a:solidFill>
                  <a:schemeClr val="accent2"/>
                </a:solidFill>
                <a:effectLst>
                  <a:outerShdw blurRad="188749" sx="102000" sy="102000" algn="ctr" rotWithShape="0">
                    <a:prstClr val="black">
                      <a:alpha val="29518"/>
                    </a:prstClr>
                  </a:outerShdw>
                </a:effectLst>
                <a:latin typeface="Montserrat Black" pitchFamily="2" charset="77"/>
                <a:ea typeface="Roboto Black" panose="02000000000000000000" pitchFamily="2" charset="0"/>
              </a:rPr>
              <a:t>“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39A7BD-5A62-65C7-063D-834CAC6A2659}"/>
              </a:ext>
            </a:extLst>
          </p:cNvPr>
          <p:cNvSpPr txBox="1"/>
          <p:nvPr userDrawn="1"/>
        </p:nvSpPr>
        <p:spPr>
          <a:xfrm rot="10800000">
            <a:off x="9534207" y="2717262"/>
            <a:ext cx="1423332" cy="3161763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/>
          <a:p>
            <a:pPr algn="ctr"/>
            <a:r>
              <a:rPr lang="en-US" sz="19946" b="1" i="0">
                <a:solidFill>
                  <a:schemeClr val="accent2"/>
                </a:solidFill>
                <a:effectLst>
                  <a:outerShdw blurRad="188749" sx="102000" sy="102000" algn="ctr" rotWithShape="0">
                    <a:prstClr val="black">
                      <a:alpha val="29518"/>
                    </a:prstClr>
                  </a:outerShdw>
                </a:effectLst>
                <a:latin typeface="Montserrat Black" pitchFamily="2" charset="77"/>
                <a:ea typeface="Roboto Black" panose="02000000000000000000" pitchFamily="2" charset="0"/>
              </a:rPr>
              <a:t>“</a:t>
            </a:r>
          </a:p>
        </p:txBody>
      </p:sp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145565B-33BF-0CCC-7BFE-310AC8FEDE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855989"/>
      </p:ext>
    </p:extLst>
  </p:cSld>
  <p:clrMapOvr>
    <a:masterClrMapping/>
  </p:clrMapOvr>
  <p:transition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List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EBC387FA-30CE-BDD8-680C-4C980FEA9E5C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047CEF-9DFE-9657-725E-BEDF2BE84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63321A3-8E3C-4944-B4E6-70D4CE9FD2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3249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172831-0F03-D14D-A9A8-DFFD8640E6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249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795939C-3A5F-2C4B-9CC2-B1390D339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249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AAD867B-64EE-F14A-A93C-1062E49B16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249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E9027DA-DF10-6646-8749-6A38B5BA70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3249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0259EF6-80A9-F64A-9BF6-65321D108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49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BB9907-E330-704E-8BB2-C8C14D2E22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3249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7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A1212DD-6A43-AC45-B219-95C01E21AA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49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8.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B13C6B77-2E88-D96A-D91B-4A2DC16181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538576" y="1931205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FA60DAD7-8E0F-D013-ABB1-1B709B784E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538576" y="2442083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CF8F9177-5A8B-EFE5-B981-3C05DDF9CD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538576" y="2967367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E24650AC-7198-8A38-2314-18E50D00C31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538576" y="3480936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7E8247CA-AD91-E8F3-12B9-E2F6F6D09F7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38576" y="4000363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C0F90C87-48C5-BD13-4F85-7A19BF749B8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538576" y="4519789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E3CF342B-849A-D07C-A349-24DCD5F68D9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538576" y="5039216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8" name="Content Placeholder 8">
            <a:extLst>
              <a:ext uri="{FF2B5EF4-FFF2-40B4-BE49-F238E27FC236}">
                <a16:creationId xmlns:a16="http://schemas.microsoft.com/office/drawing/2014/main" id="{FD1B2A4E-270E-BE06-08C7-F07E702A3E39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38576" y="5558641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D34B9810-81E3-A96C-BF76-20F1F364FD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51E9A3C-6A11-6F2D-DA4E-53529DE669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98A7F99-76A1-1164-E960-C3236D1B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593C07D-AD29-EB78-DA1F-DAFB7090AD3D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67276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D2E3E0B-93DA-B14F-AAEE-E1DBD97A86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0048297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D2E3E0B-93DA-B14F-AAEE-E1DBD97A86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1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3" y="365126"/>
            <a:ext cx="4099641" cy="5811837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0690977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List 2'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">
            <a:extLst>
              <a:ext uri="{FF2B5EF4-FFF2-40B4-BE49-F238E27FC236}">
                <a16:creationId xmlns:a16="http://schemas.microsoft.com/office/drawing/2014/main" id="{DC435823-9F66-D842-0BAE-ABCDAD7E1AE0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047CEF-9DFE-9657-725E-BEDF2BE84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63321A3-8E3C-4944-B4E6-70D4CE9FD2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3249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172831-0F03-D14D-A9A8-DFFD8640E6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249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795939C-3A5F-2C4B-9CC2-B1390D339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249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AAD867B-64EE-F14A-A93C-1062E49B16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249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E9027DA-DF10-6646-8749-6A38B5BA70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3249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0259EF6-80A9-F64A-9BF6-65321D108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49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BB9907-E330-704E-8BB2-C8C14D2E22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3249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7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A1212DD-6A43-AC45-B219-95C01E21AA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49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8.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B13C6B77-2E88-D96A-D91B-4A2DC16181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538576" y="1931205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FA60DAD7-8E0F-D013-ABB1-1B709B784E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538576" y="244208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CF8F9177-5A8B-EFE5-B981-3C05DDF9CD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538576" y="2967367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E24650AC-7198-8A38-2314-18E50D00C31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538576" y="348093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7E8247CA-AD91-E8F3-12B9-E2F6F6D09F7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38576" y="400036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C0F90C87-48C5-BD13-4F85-7A19BF749B8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538576" y="4519789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E3CF342B-849A-D07C-A349-24DCD5F68D9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538576" y="503921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8" name="Content Placeholder 8">
            <a:extLst>
              <a:ext uri="{FF2B5EF4-FFF2-40B4-BE49-F238E27FC236}">
                <a16:creationId xmlns:a16="http://schemas.microsoft.com/office/drawing/2014/main" id="{FD1B2A4E-270E-BE06-08C7-F07E702A3E39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38576" y="5558641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D34B9810-81E3-A96C-BF76-20F1F364FD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51E9A3C-6A11-6F2D-DA4E-53529DE669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E22E486-2AC7-A01B-9073-68A6400400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63148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.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7482399-7D2A-5502-D4FD-58EBB09260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63148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0.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C634FEA-8422-BE60-1990-65929BD80E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63148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1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016C576-B349-78DF-CC1D-A09D9F6A4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63148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2.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35C2A8C-1C27-FBD2-A6DF-19262D1CF0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63148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3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8654C63-BEBE-7B81-DED4-2312913362F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63148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4.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9EE34A7-C4E1-7550-82F7-7D2E08D7ED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63148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B82F3E5B-0DCA-F163-6606-6CCF6DC7C80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63148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6.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06C3410F-A1BF-AC9F-7353-58CFC079B9E4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6586583" y="1928045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4B76E5A5-DD4C-6C22-F3C5-C9B719630EEF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586583" y="243892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9685772B-5A95-75C5-17D6-8C50C2B114B8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6586583" y="2964207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0421F306-5253-A98B-9765-F2082AFE459E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586583" y="347777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74D12D39-2FB9-380B-725F-57FD1D9F2A88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6586583" y="399720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C5F0A0C9-A019-3DE1-06E0-6A2B10BA124D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586583" y="4516629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7" name="Content Placeholder 8">
            <a:extLst>
              <a:ext uri="{FF2B5EF4-FFF2-40B4-BE49-F238E27FC236}">
                <a16:creationId xmlns:a16="http://schemas.microsoft.com/office/drawing/2014/main" id="{0F43FAA9-72E8-0E1E-58AA-2F32DA60049D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586583" y="503605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7493E234-36A9-F1E6-99FB-4A1C3F031FAE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6586583" y="5555481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pic>
        <p:nvPicPr>
          <p:cNvPr id="39" name="Picture 3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90FA659D-002F-EEAB-1D7C-DC58F1F910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1505F01-6899-5582-39AA-24671CB9CDA9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480584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Diagonal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052F8A25-C4DB-1A6C-4A5E-9F849E5C6876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5EA1FA9-14F5-DC4A-80F6-42F04114C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854EEF-47C8-6138-8AB8-E0CDC9333BE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8041E96-EE56-75CA-C1A2-196A766C91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2C57A-2D54-1D5F-6BDC-A2D89CF436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11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1BF4CFB-7386-6287-933F-A0E0908C4F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65C8C47-05E9-15E8-DA6C-A5B0D5B4953A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74203592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Diagonal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B2A4E7FB-0601-F379-7BE4-F93FDA779710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EFCA042-409C-054F-9373-605461D59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D0E1185D-7D71-D84D-8180-55DC417FF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326265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C82DAED8-6370-1944-9638-AED4C0B68BD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4BC5CBA-6166-66E7-D824-15AF7B4DE0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7911" y="1920240"/>
            <a:ext cx="10257693" cy="4114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23736EC4-7043-E0FD-64ED-EF16517EEE1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7FDA0D8-CCA9-6D3E-7658-1998681D00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874D629-32E5-6A6A-AB96-E915ADCB23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236E8C4-A7AB-744E-841F-106BD56275DF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859405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Titl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69120F4-95C0-EF4C-A098-8CE2B2365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8282" t="6242" b="6109"/>
          <a:stretch/>
        </p:blipFill>
        <p:spPr>
          <a:xfrm>
            <a:off x="2" y="0"/>
            <a:ext cx="5893904" cy="685800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73FEFE-643C-D5D9-0611-7A84DC0F4B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46403" y="1873063"/>
            <a:ext cx="4910932" cy="384016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 i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bg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bg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bg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0BABCDA3-A8A8-992C-5200-AE778E5BF74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3684" y="3212488"/>
            <a:ext cx="505091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515D76-849B-0E83-E97A-439A9D49A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049" y="3504157"/>
            <a:ext cx="505091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5" name="Picture 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A0209EA-F184-4390-DE80-93E1E81EC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12206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Tit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DCE31CF7-E603-4CDF-6D0A-D8D68356F005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E944826-0CC3-5340-AC0D-C418772D8F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10201" y="780590"/>
            <a:ext cx="6266481" cy="5263373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A9980D-F779-5C4C-AE4B-78211B5EA3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1" y="1508921"/>
            <a:ext cx="4910932" cy="3840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285119E-B417-886A-727C-ED18A9A4419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3684" y="3212488"/>
            <a:ext cx="458928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F092DBD5-E742-9C28-B353-EA2C20FFAC1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049" y="3504157"/>
            <a:ext cx="458928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52876A9-6666-0EEE-9805-FF6044EE719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69849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WT Personn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F735F057-F848-0D65-9E39-1B7F88CD0851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87F3719-F05C-215B-B28E-5D9F2B3FE1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1" name="Text Placeholder 23">
            <a:extLst>
              <a:ext uri="{FF2B5EF4-FFF2-40B4-BE49-F238E27FC236}">
                <a16:creationId xmlns:a16="http://schemas.microsoft.com/office/drawing/2014/main" id="{7C275C6D-395E-E9CD-2912-62E3BDAC5C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7154" y="1764792"/>
            <a:ext cx="10257692" cy="589999"/>
          </a:xfrm>
        </p:spPr>
        <p:txBody>
          <a:bodyPr>
            <a:noAutofit/>
          </a:bodyPr>
          <a:lstStyle>
            <a:lvl1pPr marL="12696" indent="0">
              <a:lnSpc>
                <a:spcPct val="150000"/>
              </a:lnSpc>
              <a:buNone/>
              <a:tabLst/>
              <a:defRPr sz="1150" b="0" i="0">
                <a:solidFill>
                  <a:schemeClr val="tx1"/>
                </a:solidFill>
                <a:latin typeface="Montserrat" pitchFamily="2" charset="77"/>
              </a:defRPr>
            </a:lvl1pPr>
            <a:lvl2pPr marL="12696" indent="0">
              <a:buNone/>
              <a:tabLst/>
              <a:defRPr sz="1600" b="0" i="0">
                <a:latin typeface="Montserrat" pitchFamily="2" charset="77"/>
              </a:defRPr>
            </a:lvl2pPr>
            <a:lvl3pPr marL="12696" indent="0">
              <a:buNone/>
              <a:tabLst/>
              <a:defRPr sz="1600" b="0" i="0">
                <a:latin typeface="Montserrat" pitchFamily="2" charset="77"/>
              </a:defRPr>
            </a:lvl3pPr>
            <a:lvl4pPr marL="12696" indent="0">
              <a:buNone/>
              <a:tabLst/>
              <a:defRPr sz="1600" b="0" i="0">
                <a:latin typeface="Montserrat" pitchFamily="2" charset="77"/>
              </a:defRPr>
            </a:lvl4pPr>
            <a:lvl5pPr marL="12696" indent="0">
              <a:buNone/>
              <a:tabLst/>
              <a:defRPr sz="1600" b="0" i="0">
                <a:latin typeface="Montserrat" pitchFamily="2" charset="77"/>
              </a:defRPr>
            </a:lvl5pPr>
          </a:lstStyle>
          <a:p>
            <a:pPr lvl="0"/>
            <a:r>
              <a:rPr lang="en-US"/>
              <a:t>Our Digital team consists of experienced creatives, strategists and engineers with decades of experience dreaming and creating transformational digital experiences. Our engagement team consists of the following key team players:</a:t>
            </a:r>
          </a:p>
          <a:p>
            <a:pPr lvl="0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D4C2861-FB56-4410-FB20-9464B1D4E0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1154" y="2687700"/>
            <a:ext cx="3529186" cy="3614911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DC541649-3F0C-2DB0-5BFE-41FAD2ECE6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31408" y="2687700"/>
            <a:ext cx="3529186" cy="3614911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7B1B50C9-CF77-2199-F5A0-41ABC65101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81660" y="2687700"/>
            <a:ext cx="3529186" cy="3614911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23" name="Picture Placeholder 21">
            <a:extLst>
              <a:ext uri="{FF2B5EF4-FFF2-40B4-BE49-F238E27FC236}">
                <a16:creationId xmlns:a16="http://schemas.microsoft.com/office/drawing/2014/main" id="{0E6057AA-4EB8-2D0A-7169-B26935DF665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327" y="2443842"/>
            <a:ext cx="914400" cy="914400"/>
          </a:xfrm>
          <a:prstGeom prst="ellipse">
            <a:avLst/>
          </a:prstGeom>
          <a:solidFill>
            <a:schemeClr val="bg1"/>
          </a:solidFill>
          <a:ln w="31750">
            <a:gradFill>
              <a:gsLst>
                <a:gs pos="0">
                  <a:schemeClr val="accent1"/>
                </a:gs>
                <a:gs pos="52000">
                  <a:schemeClr val="accent2"/>
                </a:gs>
                <a:gs pos="100000">
                  <a:schemeClr val="bg2"/>
                </a:gs>
              </a:gsLst>
              <a:lin ang="5400000" scaled="1"/>
            </a:gradFill>
          </a:ln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24" name="Picture Placeholder 21">
            <a:extLst>
              <a:ext uri="{FF2B5EF4-FFF2-40B4-BE49-F238E27FC236}">
                <a16:creationId xmlns:a16="http://schemas.microsoft.com/office/drawing/2014/main" id="{42F0A3DA-A2C7-170F-EBC0-A2991A85735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59056" y="2443842"/>
            <a:ext cx="914400" cy="914400"/>
          </a:xfrm>
          <a:prstGeom prst="ellipse">
            <a:avLst/>
          </a:prstGeom>
          <a:solidFill>
            <a:schemeClr val="bg1"/>
          </a:solidFill>
          <a:ln w="31750">
            <a:gradFill>
              <a:gsLst>
                <a:gs pos="0">
                  <a:schemeClr val="accent1"/>
                </a:gs>
                <a:gs pos="52000">
                  <a:schemeClr val="accent2"/>
                </a:gs>
                <a:gs pos="100000">
                  <a:schemeClr val="bg2"/>
                </a:gs>
              </a:gsLst>
              <a:lin ang="5400000" scaled="1"/>
            </a:gradFill>
          </a:ln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B573FDF-F95C-1EE8-90DF-0BE5997D46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52031" y="2422791"/>
            <a:ext cx="914400" cy="914400"/>
          </a:xfrm>
          <a:prstGeom prst="ellipse">
            <a:avLst/>
          </a:prstGeom>
          <a:solidFill>
            <a:schemeClr val="bg1"/>
          </a:solidFill>
          <a:ln w="31750">
            <a:gradFill>
              <a:gsLst>
                <a:gs pos="0">
                  <a:schemeClr val="accent1"/>
                </a:gs>
                <a:gs pos="52000">
                  <a:schemeClr val="accent2"/>
                </a:gs>
                <a:gs pos="100000">
                  <a:schemeClr val="bg2"/>
                </a:gs>
              </a:gsLst>
              <a:lin ang="5400000" scaled="1"/>
            </a:gradFill>
          </a:ln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CFD964-8E4F-9CF4-D1E6-B51F7DA56F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179" y="3571393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18E0CDB7-B6D9-D90F-8CE0-69EF37AD13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1179" y="3893561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050" b="0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E0F6FD-F37A-B026-C4B9-7270BF4D1B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0506" y="4460817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BCF1CEB-124C-659C-7B22-569E8A59937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41432" y="3565114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7A55CFAA-CC15-D63B-AE3A-B390D899D3E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1432" y="3887282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050" b="0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64B5C830-912C-1ACA-C249-E49B6E30D5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0759" y="4454538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8356126D-DBB1-56FF-D4D2-C07531100EF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91687" y="354614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First Last Nam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03081CE0-8DFE-9C60-3ACF-CE326AB1E8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91687" y="3868308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050" b="0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INSERT JOB 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C143486C-B9EC-C19B-4790-5BA2C06B947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91014" y="4435564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DDB18688-75DD-AA5D-1A24-5220E4AC3EDB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784969D-E500-2935-53FE-C6F6ED8C89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WWT Digital Personnel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03997A77-A0E4-37C8-22A9-C6B59D87E9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EB72601-8822-DAF5-AC7A-B99EABB95424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8526013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4 Box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">
            <a:extLst>
              <a:ext uri="{FF2B5EF4-FFF2-40B4-BE49-F238E27FC236}">
                <a16:creationId xmlns:a16="http://schemas.microsoft.com/office/drawing/2014/main" id="{C8CD9252-2096-AE96-563B-1C48F1F3C8F2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F407D6EF-E2A1-CA4D-8E4E-B2EEC903D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18E043D7-FA57-8148-8ED8-79BECF3D30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583" y="2527545"/>
            <a:ext cx="5271684" cy="175406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34" name="Circle">
            <a:extLst>
              <a:ext uri="{FF2B5EF4-FFF2-40B4-BE49-F238E27FC236}">
                <a16:creationId xmlns:a16="http://schemas.microsoft.com/office/drawing/2014/main" id="{F91EA385-762E-5432-173A-C4072CF2E577}"/>
              </a:ext>
            </a:extLst>
          </p:cNvPr>
          <p:cNvSpPr/>
          <p:nvPr userDrawn="1"/>
        </p:nvSpPr>
        <p:spPr>
          <a:xfrm>
            <a:off x="189798" y="3005740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4B7C702D-AD07-882A-5874-62275572C02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EB753C3-0EBA-3C24-7990-5BF790BBFE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8BF182-F9AE-7277-62D1-E5EA52ECDC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78131" y="2877414"/>
            <a:ext cx="4429293" cy="37306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1200" b="1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DB52E06-0EC3-2338-C64F-45F103F1EC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78131" y="3199582"/>
            <a:ext cx="4429293" cy="79767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900" b="0" i="0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Sub tex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1D62DC2-1722-463A-7A36-F96055887F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8583" y="4477987"/>
            <a:ext cx="5271684" cy="175406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8" name="Circle">
            <a:extLst>
              <a:ext uri="{FF2B5EF4-FFF2-40B4-BE49-F238E27FC236}">
                <a16:creationId xmlns:a16="http://schemas.microsoft.com/office/drawing/2014/main" id="{9FEDDCC1-DB20-114D-274E-56CE863AFC66}"/>
              </a:ext>
            </a:extLst>
          </p:cNvPr>
          <p:cNvSpPr/>
          <p:nvPr userDrawn="1"/>
        </p:nvSpPr>
        <p:spPr>
          <a:xfrm>
            <a:off x="189798" y="4956182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E9EBBE1-41B3-DB97-3BC1-84F60C7B7F6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78131" y="4827856"/>
            <a:ext cx="4429293" cy="37306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1200" b="1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77FD57F-5330-0322-655E-C2DB788F003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78131" y="5150024"/>
            <a:ext cx="4429293" cy="79767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900" b="0" i="0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Sub text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5F7BE7D-F72F-83AA-2A98-471495F64F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95757" y="2527545"/>
            <a:ext cx="5271684" cy="175406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2" name="Circle">
            <a:extLst>
              <a:ext uri="{FF2B5EF4-FFF2-40B4-BE49-F238E27FC236}">
                <a16:creationId xmlns:a16="http://schemas.microsoft.com/office/drawing/2014/main" id="{49C32AA7-D375-055E-2C2C-B9F1D59CA767}"/>
              </a:ext>
            </a:extLst>
          </p:cNvPr>
          <p:cNvSpPr/>
          <p:nvPr userDrawn="1"/>
        </p:nvSpPr>
        <p:spPr>
          <a:xfrm>
            <a:off x="6196972" y="3005740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1DDF5BB-4453-47F3-F1A8-94B9BD54D2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85305" y="2877414"/>
            <a:ext cx="4429293" cy="37306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1200" b="1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7D511E4-94BA-5996-08A5-623981A98AB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85305" y="3199582"/>
            <a:ext cx="4429293" cy="79767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900" b="0" i="0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Sub text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A84F0EB-E3CB-C0D7-87B3-8A069FD13B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95757" y="4477987"/>
            <a:ext cx="5271684" cy="175406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6" name="Circle">
            <a:extLst>
              <a:ext uri="{FF2B5EF4-FFF2-40B4-BE49-F238E27FC236}">
                <a16:creationId xmlns:a16="http://schemas.microsoft.com/office/drawing/2014/main" id="{5B04C861-7B5E-71DF-73B3-D7CCF4C0A974}"/>
              </a:ext>
            </a:extLst>
          </p:cNvPr>
          <p:cNvSpPr/>
          <p:nvPr userDrawn="1"/>
        </p:nvSpPr>
        <p:spPr>
          <a:xfrm>
            <a:off x="6196972" y="4956182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3F4F4766-B39E-0214-071B-BB0572226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85305" y="4827856"/>
            <a:ext cx="4429293" cy="37306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1200" b="1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0FFFE72-AA2C-2179-EEA5-11DA379BAC7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85305" y="5150024"/>
            <a:ext cx="4429293" cy="797672"/>
          </a:xfrm>
        </p:spPr>
        <p:txBody>
          <a:bodyPr anchor="ctr"/>
          <a:lstStyle>
            <a:lvl1pPr marL="0" indent="0" algn="l">
              <a:spcAft>
                <a:spcPts val="0"/>
              </a:spcAft>
              <a:buNone/>
              <a:defRPr sz="900" b="0" i="0" cap="none" spc="0" baseline="0">
                <a:solidFill>
                  <a:schemeClr val="tx1"/>
                </a:solidFill>
                <a:latin typeface="Montserrat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Sub tex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C870EEF-53E1-8272-8DD5-3A553B2EB8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6DC5F483-AAC2-6B70-2E1C-9005B686F6E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2C9C8E3-0BDE-8DB3-81B4-940CA0D628F3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88340642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4 Boxe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">
            <a:extLst>
              <a:ext uri="{FF2B5EF4-FFF2-40B4-BE49-F238E27FC236}">
                <a16:creationId xmlns:a16="http://schemas.microsoft.com/office/drawing/2014/main" id="{87346632-9B0C-9E2A-9CCB-8FBEA511909C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4A201B7-71F3-ACE6-B5CA-145FC5B0F2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71A96EF-15B7-43BA-3DA1-4B71369BE79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5347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0399910-3B64-85C5-7963-DA167CFA5FF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8026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42F139D7-683F-3963-E075-41B0AC5500D8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70705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5172D203-EE19-285C-E286-A6C6F5D2A35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3383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7" name="Circle">
            <a:extLst>
              <a:ext uri="{FF2B5EF4-FFF2-40B4-BE49-F238E27FC236}">
                <a16:creationId xmlns:a16="http://schemas.microsoft.com/office/drawing/2014/main" id="{2DC1B171-D16F-407B-2A98-66CB5BDD436C}"/>
              </a:ext>
            </a:extLst>
          </p:cNvPr>
          <p:cNvSpPr>
            <a:spLocks noChangeAspect="1"/>
          </p:cNvSpPr>
          <p:nvPr/>
        </p:nvSpPr>
        <p:spPr>
          <a:xfrm>
            <a:off x="2332403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574E06F8-53CB-6240-371C-4315223CDCE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FF860DB-E5D8-6E7A-562F-6CBFFE7029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7B47402-068D-ECE4-C50E-D5420AE001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16787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0EB9C63-5FE8-A403-FC29-C8D63FA6C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16787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8" name="Circle">
            <a:extLst>
              <a:ext uri="{FF2B5EF4-FFF2-40B4-BE49-F238E27FC236}">
                <a16:creationId xmlns:a16="http://schemas.microsoft.com/office/drawing/2014/main" id="{70A083EC-2A84-8124-33A8-D29F51EF5103}"/>
              </a:ext>
            </a:extLst>
          </p:cNvPr>
          <p:cNvSpPr>
            <a:spLocks noChangeAspect="1"/>
          </p:cNvSpPr>
          <p:nvPr userDrawn="1"/>
        </p:nvSpPr>
        <p:spPr>
          <a:xfrm>
            <a:off x="4505082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AE66A09-C909-CD8B-1A91-5B89B889C4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89466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8072FEE-7CEB-F587-09C4-2B51A1E037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89466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1" name="Circle">
            <a:extLst>
              <a:ext uri="{FF2B5EF4-FFF2-40B4-BE49-F238E27FC236}">
                <a16:creationId xmlns:a16="http://schemas.microsoft.com/office/drawing/2014/main" id="{EC3FFFFB-1D3C-9D78-C18B-85A4377B25AF}"/>
              </a:ext>
            </a:extLst>
          </p:cNvPr>
          <p:cNvSpPr>
            <a:spLocks noChangeAspect="1"/>
          </p:cNvSpPr>
          <p:nvPr userDrawn="1"/>
        </p:nvSpPr>
        <p:spPr>
          <a:xfrm>
            <a:off x="6677761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E9C156C-7D7B-5F88-6DFB-19C7DC831A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2145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B9CAAB5-311A-8678-8D44-923560BC0A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2145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4" name="Circle">
            <a:extLst>
              <a:ext uri="{FF2B5EF4-FFF2-40B4-BE49-F238E27FC236}">
                <a16:creationId xmlns:a16="http://schemas.microsoft.com/office/drawing/2014/main" id="{E86D7D4F-24C1-EE75-1596-320113832EB3}"/>
              </a:ext>
            </a:extLst>
          </p:cNvPr>
          <p:cNvSpPr>
            <a:spLocks noChangeAspect="1"/>
          </p:cNvSpPr>
          <p:nvPr userDrawn="1"/>
        </p:nvSpPr>
        <p:spPr>
          <a:xfrm>
            <a:off x="8850439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8758A10-5F84-8196-1304-BCE909A370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34823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AD2BB4B-AD0A-9B2F-DB07-134DFFFD4A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4823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D76AA7-A0A2-9101-E893-AF614DF63F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79EFDF0C-FD4E-C075-42B0-C3E86577BCA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7B92E03-D35B-3FEE-DB5D-77B566E9838B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412456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3 Box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>
            <a:extLst>
              <a:ext uri="{FF2B5EF4-FFF2-40B4-BE49-F238E27FC236}">
                <a16:creationId xmlns:a16="http://schemas.microsoft.com/office/drawing/2014/main" id="{024741D9-5C9A-58DD-5A1E-B83E43CF1FF9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8DC497E-27FC-3B4D-8C45-BEC44C11A9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2A4B1E20-B850-5349-8A8B-F02BDE4367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225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29" name="Circle">
            <a:extLst>
              <a:ext uri="{FF2B5EF4-FFF2-40B4-BE49-F238E27FC236}">
                <a16:creationId xmlns:a16="http://schemas.microsoft.com/office/drawing/2014/main" id="{AA72FE13-8CF2-969F-9BE1-A6CEFE6102F7}"/>
              </a:ext>
            </a:extLst>
          </p:cNvPr>
          <p:cNvSpPr>
            <a:spLocks noChangeAspect="1"/>
          </p:cNvSpPr>
          <p:nvPr userDrawn="1"/>
        </p:nvSpPr>
        <p:spPr>
          <a:xfrm>
            <a:off x="1581952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C2E9F07C-3F28-DE6F-ACE8-8466F5E6032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C7A4C4D-A30D-EFB3-E543-29E719D3E7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246FDF-957F-034C-F793-5092D6B27E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344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2B3EBBF-AEDF-F08E-9344-A966E2C995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344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7B73EB-F1A9-92CA-246C-635FBABC6B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44313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8" name="Circle">
            <a:extLst>
              <a:ext uri="{FF2B5EF4-FFF2-40B4-BE49-F238E27FC236}">
                <a16:creationId xmlns:a16="http://schemas.microsoft.com/office/drawing/2014/main" id="{D05E42C8-C3F2-007A-D294-7F7A0FD8359A}"/>
              </a:ext>
            </a:extLst>
          </p:cNvPr>
          <p:cNvSpPr>
            <a:spLocks noChangeAspect="1"/>
          </p:cNvSpPr>
          <p:nvPr userDrawn="1"/>
        </p:nvSpPr>
        <p:spPr>
          <a:xfrm>
            <a:off x="5643040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ADCAEE-0C5B-D62D-8C4F-BBD4AD8058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1432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5CF1FCC-7581-A28B-FD36-61E528C0DC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432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CDD3159-F79E-C84C-272E-385C6401D6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33770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2" name="Circle">
            <a:extLst>
              <a:ext uri="{FF2B5EF4-FFF2-40B4-BE49-F238E27FC236}">
                <a16:creationId xmlns:a16="http://schemas.microsoft.com/office/drawing/2014/main" id="{F822C310-D2E0-AC01-16B8-3844BED7D16A}"/>
              </a:ext>
            </a:extLst>
          </p:cNvPr>
          <p:cNvSpPr>
            <a:spLocks noChangeAspect="1"/>
          </p:cNvSpPr>
          <p:nvPr userDrawn="1"/>
        </p:nvSpPr>
        <p:spPr>
          <a:xfrm>
            <a:off x="9732497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3C0DEA-F85C-79A7-B315-F12309042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30889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EB7C277-F3EF-BC3B-A099-CEF9A67B5E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30889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C5840E0-A33E-1470-FF2A-5E6D42210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75012BEF-FF9D-7A50-7994-E795BD500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D2E8613-84F8-FE3C-276B-0D0A8E90FD84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6274225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Basic +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356" y="1541937"/>
            <a:ext cx="11247120" cy="4635027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1228B109-0617-9CAF-9F0C-DE44CF8B948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72356" y="424062"/>
            <a:ext cx="1124712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FC0273D-8CDB-5EE3-34F3-400BA04F15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2440" y="709007"/>
            <a:ext cx="1124712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E5C926-D204-652B-63A6-119ED4D687A0}"/>
              </a:ext>
            </a:extLst>
          </p:cNvPr>
          <p:cNvSpPr/>
          <p:nvPr userDrawn="1"/>
        </p:nvSpPr>
        <p:spPr>
          <a:xfrm>
            <a:off x="-3048" y="6812280"/>
            <a:ext cx="12198096" cy="45720"/>
          </a:xfrm>
          <a:prstGeom prst="rect">
            <a:avLst/>
          </a:prstGeom>
          <a:gradFill>
            <a:gsLst>
              <a:gs pos="0">
                <a:schemeClr val="accent1"/>
              </a:gs>
              <a:gs pos="55000">
                <a:schemeClr val="accent2"/>
              </a:gs>
              <a:gs pos="100000">
                <a:schemeClr val="bg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2B6D4F1-CE3B-B6EB-FBD9-ED0CA8B3A8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7210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47B9F4-B628-D24A-9F70-B42A951228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574309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47B9F4-B628-D24A-9F70-B42A951228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0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79" y="365126"/>
            <a:ext cx="5957382" cy="811922"/>
          </a:xfrm>
        </p:spPr>
        <p:txBody>
          <a:bodyPr vert="horz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79" y="1410511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0" y="-1"/>
            <a:ext cx="4900971" cy="6858000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8AC9FD-618E-B24B-9587-DE9E8F9E1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4155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gradien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67A3BE-0E97-1F52-F590-BA156EF521C1}"/>
              </a:ext>
            </a:extLst>
          </p:cNvPr>
          <p:cNvSpPr/>
          <p:nvPr userDrawn="1"/>
        </p:nvSpPr>
        <p:spPr>
          <a:xfrm>
            <a:off x="-3048" y="6812280"/>
            <a:ext cx="12198096" cy="45720"/>
          </a:xfrm>
          <a:prstGeom prst="rect">
            <a:avLst/>
          </a:prstGeom>
          <a:gradFill>
            <a:gsLst>
              <a:gs pos="0">
                <a:schemeClr val="accent1"/>
              </a:gs>
              <a:gs pos="55000">
                <a:schemeClr val="accent2"/>
              </a:gs>
              <a:gs pos="100000">
                <a:schemeClr val="bg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44FA78D-3F65-1513-7598-5D5B6FD49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243248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lid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85B9AA4-5D54-5060-6891-64FDEBA267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5190" y="418646"/>
            <a:ext cx="10968992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944513-A08F-3E36-2310-CBA831AC27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3039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bg>
      <p:bgPr>
        <a:gradFill flip="none" rotWithShape="1">
          <a:gsLst>
            <a:gs pos="78000">
              <a:schemeClr val="bg2"/>
            </a:gs>
            <a:gs pos="28000">
              <a:schemeClr val="accent2"/>
            </a:gs>
            <a:gs pos="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5" y="0"/>
            <a:ext cx="12222566" cy="6858000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-30565" y="5688963"/>
            <a:ext cx="12253132" cy="120708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9200671" y="6138532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sz="2300" b="1" kern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1AC1FBD-7600-4102-2C13-49BD1630C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67208" y="1233377"/>
            <a:ext cx="5630917" cy="4641306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4DEE6-9427-C2D9-469E-F78CBE8BFB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97024" y="2340278"/>
            <a:ext cx="4971279" cy="2232837"/>
          </a:xfrm>
        </p:spPr>
        <p:txBody>
          <a:bodyPr anchor="t">
            <a:noAutofit/>
          </a:bodyPr>
          <a:lstStyle>
            <a:lvl1pPr marL="0" indent="0">
              <a:lnSpc>
                <a:spcPct val="150000"/>
              </a:lnSpc>
              <a:buNone/>
              <a:defRPr sz="1150" b="0" i="0">
                <a:latin typeface="Montserrat" pitchFamily="2" charset="77"/>
              </a:defRPr>
            </a:lvl1pPr>
            <a:lvl2pPr marL="457063" indent="0">
              <a:buNone/>
              <a:defRPr sz="1200"/>
            </a:lvl2pPr>
            <a:lvl3pPr marL="914126" indent="0">
              <a:buNone/>
              <a:defRPr sz="1200"/>
            </a:lvl3pPr>
            <a:lvl4pPr marL="1371189" indent="0">
              <a:buNone/>
              <a:defRPr sz="1200"/>
            </a:lvl4pPr>
            <a:lvl5pPr marL="1828251" indent="0">
              <a:buNone/>
              <a:defRPr sz="12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Sed non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mi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 sed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. </a:t>
            </a:r>
            <a:r>
              <a:rPr lang="en-US" err="1"/>
              <a:t>Interdum</a:t>
            </a:r>
            <a:r>
              <a:rPr lang="en-US"/>
              <a:t> et </a:t>
            </a:r>
            <a:r>
              <a:rPr lang="en-US" err="1"/>
              <a:t>malesuada</a:t>
            </a:r>
            <a:r>
              <a:rPr lang="en-US"/>
              <a:t> fames ac ante ipsum </a:t>
            </a:r>
            <a:r>
              <a:rPr lang="en-US" err="1"/>
              <a:t>primis</a:t>
            </a:r>
            <a:r>
              <a:rPr lang="en-US"/>
              <a:t> in </a:t>
            </a:r>
            <a:r>
              <a:rPr lang="en-US" err="1"/>
              <a:t>faucibus</a:t>
            </a:r>
            <a:r>
              <a:rPr lang="en-US"/>
              <a:t>. Integer </a:t>
            </a:r>
            <a:r>
              <a:rPr lang="en-US" err="1"/>
              <a:t>finibus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non </a:t>
            </a:r>
            <a:r>
              <a:rPr lang="en-US" err="1"/>
              <a:t>tempor</a:t>
            </a:r>
            <a:r>
              <a:rPr lang="en-US"/>
              <a:t> libero semper </a:t>
            </a:r>
            <a:r>
              <a:rPr lang="en-US" err="1"/>
              <a:t>quis</a:t>
            </a:r>
            <a:r>
              <a:rPr lang="en-US"/>
              <a:t>. Duis </a:t>
            </a:r>
            <a:r>
              <a:rPr lang="en-US" err="1"/>
              <a:t>aliquet</a:t>
            </a:r>
            <a:r>
              <a:rPr lang="en-US"/>
              <a:t> porta </a:t>
            </a:r>
            <a:r>
              <a:rPr lang="en-US" err="1"/>
              <a:t>arcu</a:t>
            </a:r>
            <a:r>
              <a:rPr lang="en-US"/>
              <a:t> vitae </a:t>
            </a:r>
            <a:r>
              <a:rPr lang="en-US" err="1"/>
              <a:t>ultrices</a:t>
            </a:r>
            <a:r>
              <a:rPr lang="en-US"/>
              <a:t>. Morbi ac </a:t>
            </a:r>
            <a:r>
              <a:rPr lang="en-US" err="1"/>
              <a:t>nibh</a:t>
            </a:r>
            <a:r>
              <a:rPr lang="en-US"/>
              <a:t> at dolor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lore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porta </a:t>
            </a:r>
            <a:r>
              <a:rPr lang="en-US" err="1"/>
              <a:t>dignissim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at </a:t>
            </a:r>
            <a:r>
              <a:rPr lang="en-US" err="1"/>
              <a:t>ultrice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, </a:t>
            </a:r>
            <a:r>
              <a:rPr lang="en-US" err="1"/>
              <a:t>lobortis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ffici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69B9BA-9232-F37E-6B5F-1C00CA0DCA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7024" y="1517155"/>
            <a:ext cx="4971279" cy="744538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4000" b="0" i="0" baseline="0"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457063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2pPr>
            <a:lvl3pPr marL="914126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3pPr>
            <a:lvl4pPr marL="1371189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4pPr>
            <a:lvl5pPr marL="1828251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5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3305BEC-5223-D05D-691A-417813C99C1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97024" y="4777233"/>
            <a:ext cx="4971279" cy="525802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000" b="0" i="0">
                <a:solidFill>
                  <a:schemeClr val="bg2"/>
                </a:solidFill>
                <a:latin typeface="Montserrat" pitchFamily="2" charset="77"/>
              </a:defRPr>
            </a:lvl1pPr>
            <a:lvl2pPr marL="457063" indent="0" algn="l">
              <a:buNone/>
              <a:defRPr b="1" i="0">
                <a:latin typeface="Montserrat" pitchFamily="2" charset="77"/>
              </a:defRPr>
            </a:lvl2pPr>
            <a:lvl3pPr marL="914126" indent="0" algn="l">
              <a:buNone/>
              <a:defRPr b="1" i="0">
                <a:latin typeface="Montserrat" pitchFamily="2" charset="77"/>
              </a:defRPr>
            </a:lvl3pPr>
            <a:lvl4pPr marL="1371189" indent="0" algn="l">
              <a:buNone/>
              <a:defRPr b="1" i="0">
                <a:latin typeface="Montserrat" pitchFamily="2" charset="77"/>
              </a:defRPr>
            </a:lvl4pPr>
            <a:lvl5pPr marL="1828251" indent="0" algn="l">
              <a:buNone/>
              <a:defRPr b="1" i="0">
                <a:latin typeface="Montserrat" pitchFamily="2" charset="77"/>
              </a:defRPr>
            </a:lvl5pPr>
          </a:lstStyle>
          <a:p>
            <a:pPr lvl="0"/>
            <a:r>
              <a:rPr lang="en-US"/>
              <a:t>Sincerely, </a:t>
            </a:r>
          </a:p>
          <a:p>
            <a:pPr lvl="0"/>
            <a:r>
              <a:rPr lang="en-US"/>
              <a:t>Insert Nam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6DD2246-0427-A918-99CF-17F8564CC23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3032" y="1216014"/>
            <a:ext cx="4110578" cy="4114800"/>
          </a:xfrm>
          <a:prstGeom prst="ellipse">
            <a:avLst/>
          </a:prstGeom>
          <a:ln w="53975">
            <a:solidFill>
              <a:srgbClr val="FFFFFF"/>
            </a:solidFill>
          </a:ln>
          <a:effectLst>
            <a:outerShdw blurRad="25904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2" name="Picture 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5B9B574-8DAB-1C45-B356-4825F21E88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09416" y="6246234"/>
            <a:ext cx="1491687" cy="345297"/>
          </a:xfrm>
          <a:prstGeom prst="rect">
            <a:avLst/>
          </a:prstGeom>
        </p:spPr>
      </p:pic>
      <p:pic>
        <p:nvPicPr>
          <p:cNvPr id="6" name="Picture 5" descr="A picture containing graphics, font, red, logo&#10;&#10;Description automatically generated">
            <a:extLst>
              <a:ext uri="{FF2B5EF4-FFF2-40B4-BE49-F238E27FC236}">
                <a16:creationId xmlns:a16="http://schemas.microsoft.com/office/drawing/2014/main" id="{067BB295-F261-AE69-DD9F-C21A9EF420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0326" y="6220821"/>
            <a:ext cx="1317062" cy="330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562227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Client with Logo WWT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7BDC91-127F-AB7F-8CFD-03E679E009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59709" y="1"/>
            <a:ext cx="5532291" cy="6297793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2" name="Rounded Rectangle">
            <a:extLst>
              <a:ext uri="{FF2B5EF4-FFF2-40B4-BE49-F238E27FC236}">
                <a16:creationId xmlns:a16="http://schemas.microsoft.com/office/drawing/2014/main" id="{846FFAFF-7C7B-1906-A0F6-88E3F305DE24}"/>
              </a:ext>
            </a:extLst>
          </p:cNvPr>
          <p:cNvSpPr/>
          <p:nvPr userDrawn="1"/>
        </p:nvSpPr>
        <p:spPr>
          <a:xfrm>
            <a:off x="380700" y="-499471"/>
            <a:ext cx="1561340" cy="1642131"/>
          </a:xfrm>
          <a:prstGeom prst="roundRect">
            <a:avLst>
              <a:gd name="adj" fmla="val 12420"/>
            </a:avLst>
          </a:prstGeom>
          <a:solidFill>
            <a:srgbClr val="FFFFFF"/>
          </a:solidFill>
          <a:ln w="12700">
            <a:miter lim="400000"/>
          </a:ln>
          <a:effectLst>
            <a:outerShdw blurRad="609600" dist="64868" dir="5400000" rotWithShape="0">
              <a:srgbClr val="000000">
                <a:alpha val="15102"/>
              </a:srgbClr>
            </a:outerShdw>
          </a:effectLst>
        </p:spPr>
        <p:txBody>
          <a:bodyPr lIns="0" tIns="0" rIns="0" bIns="0" anchor="ctr"/>
          <a:lstStyle/>
          <a:p>
            <a:pPr>
              <a:lnSpc>
                <a:spcPts val="1400"/>
              </a:lnSpc>
              <a:defRPr sz="1200" b="0">
                <a:solidFill>
                  <a:srgbClr val="0000EE"/>
                </a:solidFill>
                <a:latin typeface="Times"/>
                <a:ea typeface="Times"/>
                <a:cs typeface="Times"/>
                <a:sym typeface="Times"/>
              </a:defRPr>
            </a:pPr>
            <a:endParaRPr sz="600" b="0" i="0">
              <a:latin typeface="Montserrat" pitchFamily="2" charset="77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2B82CAE-B750-E883-4E1C-1D8112F35A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647" y="214926"/>
            <a:ext cx="1251042" cy="770594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DC1B32-9892-725C-A7F3-62C3F65175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701" y="1484992"/>
            <a:ext cx="5934432" cy="1201737"/>
          </a:xfrm>
        </p:spPr>
        <p:txBody>
          <a:bodyPr/>
          <a:lstStyle>
            <a:lvl1pPr marL="0" indent="0">
              <a:buNone/>
              <a:defRPr sz="36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tatement Headline Goes He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DFA748-688F-EDCD-D7DE-AB2E1B0294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701" y="2841048"/>
            <a:ext cx="5934432" cy="119062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400" b="0" i="0"/>
            </a:lvl1pPr>
            <a:lvl2pPr marL="457063" indent="0">
              <a:buNone/>
              <a:defRPr sz="1100"/>
            </a:lvl2pPr>
            <a:lvl3pPr marL="914126" indent="0">
              <a:buNone/>
              <a:defRPr sz="1100"/>
            </a:lvl3pPr>
            <a:lvl4pPr marL="1371189" indent="0">
              <a:buNone/>
              <a:defRPr sz="1100"/>
            </a:lvl4pPr>
            <a:lvl5pPr marL="1828252" indent="0">
              <a:buNone/>
              <a:defRPr sz="11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Proin mi mi, </a:t>
            </a:r>
            <a:r>
              <a:rPr lang="en-US" err="1"/>
              <a:t>tincidunt</a:t>
            </a:r>
            <a:r>
              <a:rPr lang="en-US"/>
              <a:t> vitae </a:t>
            </a:r>
            <a:r>
              <a:rPr lang="en-US" err="1"/>
              <a:t>sollicitudin</a:t>
            </a:r>
            <a:r>
              <a:rPr lang="en-US"/>
              <a:t> at, cursus sed </a:t>
            </a:r>
            <a:r>
              <a:rPr lang="en-US" err="1"/>
              <a:t>puru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vel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,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A56179-45BD-6E0A-0EB6-C80AE5C75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99" y="4529934"/>
            <a:ext cx="5934033" cy="1101046"/>
          </a:xfrm>
        </p:spPr>
        <p:txBody>
          <a:bodyPr/>
          <a:lstStyle>
            <a:lvl1pPr>
              <a:defRPr sz="900" b="0" i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FF74EE3-A4D4-73D6-E835-E75E790455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700" y="4118658"/>
            <a:ext cx="5916171" cy="346075"/>
          </a:xfrm>
        </p:spPr>
        <p:txBody>
          <a:bodyPr/>
          <a:lstStyle>
            <a:lvl1pPr marL="0" indent="0">
              <a:buNone/>
              <a:defRPr sz="1600" b="1" i="0" spc="0"/>
            </a:lvl1pPr>
          </a:lstStyle>
          <a:p>
            <a:pPr lvl="0"/>
            <a:r>
              <a:rPr lang="en-US"/>
              <a:t>What We Did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F99E9C5-620C-52DE-1F24-588DEF41C1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417153"/>
      </p:ext>
    </p:extLst>
  </p:cSld>
  <p:clrMapOvr>
    <a:masterClrMapping/>
  </p:clrMapOvr>
  <p:transition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Confidential Client No Logo WWT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7BDC91-127F-AB7F-8CFD-03E679E009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59709" y="1"/>
            <a:ext cx="5532291" cy="6297793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2" name="Rounded Rectangle">
            <a:extLst>
              <a:ext uri="{FF2B5EF4-FFF2-40B4-BE49-F238E27FC236}">
                <a16:creationId xmlns:a16="http://schemas.microsoft.com/office/drawing/2014/main" id="{846FFAFF-7C7B-1906-A0F6-88E3F305DE24}"/>
              </a:ext>
            </a:extLst>
          </p:cNvPr>
          <p:cNvSpPr/>
          <p:nvPr userDrawn="1"/>
        </p:nvSpPr>
        <p:spPr>
          <a:xfrm>
            <a:off x="380700" y="-499471"/>
            <a:ext cx="1561340" cy="1642131"/>
          </a:xfrm>
          <a:prstGeom prst="roundRect">
            <a:avLst>
              <a:gd name="adj" fmla="val 12420"/>
            </a:avLst>
          </a:prstGeom>
          <a:solidFill>
            <a:srgbClr val="FFFFFF"/>
          </a:solidFill>
          <a:ln w="12700">
            <a:miter lim="400000"/>
          </a:ln>
          <a:effectLst>
            <a:outerShdw blurRad="609600" dist="64868" dir="5400000" rotWithShape="0">
              <a:srgbClr val="000000">
                <a:alpha val="15102"/>
              </a:srgbClr>
            </a:outerShdw>
          </a:effectLst>
        </p:spPr>
        <p:txBody>
          <a:bodyPr lIns="0" tIns="0" rIns="0" bIns="0" anchor="ctr"/>
          <a:lstStyle/>
          <a:p>
            <a:pPr>
              <a:lnSpc>
                <a:spcPts val="1400"/>
              </a:lnSpc>
              <a:defRPr sz="1200" b="0">
                <a:solidFill>
                  <a:srgbClr val="0000EE"/>
                </a:solidFill>
                <a:latin typeface="Times"/>
                <a:ea typeface="Times"/>
                <a:cs typeface="Times"/>
                <a:sym typeface="Times"/>
              </a:defRPr>
            </a:pPr>
            <a:endParaRPr sz="600" b="0" i="0">
              <a:latin typeface="Montserrat" pitchFamily="2" charset="77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DC1B32-9892-725C-A7F3-62C3F65175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701" y="1484992"/>
            <a:ext cx="5934432" cy="1201737"/>
          </a:xfrm>
        </p:spPr>
        <p:txBody>
          <a:bodyPr/>
          <a:lstStyle>
            <a:lvl1pPr marL="0" indent="0">
              <a:buNone/>
              <a:defRPr sz="36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tatement Headline Goes He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DFA748-688F-EDCD-D7DE-AB2E1B0294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701" y="2841048"/>
            <a:ext cx="5934432" cy="119062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400" b="0" i="0"/>
            </a:lvl1pPr>
            <a:lvl2pPr marL="457063" indent="0">
              <a:buNone/>
              <a:defRPr sz="1100"/>
            </a:lvl2pPr>
            <a:lvl3pPr marL="914126" indent="0">
              <a:buNone/>
              <a:defRPr sz="1100"/>
            </a:lvl3pPr>
            <a:lvl4pPr marL="1371189" indent="0">
              <a:buNone/>
              <a:defRPr sz="1100"/>
            </a:lvl4pPr>
            <a:lvl5pPr marL="1828252" indent="0">
              <a:buNone/>
              <a:defRPr sz="11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Proin mi mi, </a:t>
            </a:r>
            <a:r>
              <a:rPr lang="en-US" err="1"/>
              <a:t>tincidunt</a:t>
            </a:r>
            <a:r>
              <a:rPr lang="en-US"/>
              <a:t> vitae </a:t>
            </a:r>
            <a:r>
              <a:rPr lang="en-US" err="1"/>
              <a:t>sollicitudin</a:t>
            </a:r>
            <a:r>
              <a:rPr lang="en-US"/>
              <a:t> at, cursus sed </a:t>
            </a:r>
            <a:r>
              <a:rPr lang="en-US" err="1"/>
              <a:t>puru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vel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,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A56179-45BD-6E0A-0EB6-C80AE5C75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99" y="4529934"/>
            <a:ext cx="5934033" cy="1101046"/>
          </a:xfrm>
        </p:spPr>
        <p:txBody>
          <a:bodyPr/>
          <a:lstStyle>
            <a:lvl1pPr>
              <a:defRPr sz="900" b="0" i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FF74EE3-A4D4-73D6-E835-E75E790455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700" y="4118658"/>
            <a:ext cx="5916171" cy="346075"/>
          </a:xfrm>
        </p:spPr>
        <p:txBody>
          <a:bodyPr/>
          <a:lstStyle>
            <a:lvl1pPr marL="0" indent="0">
              <a:buNone/>
              <a:defRPr sz="1600" b="1" i="0" spc="0"/>
            </a:lvl1pPr>
          </a:lstStyle>
          <a:p>
            <a:pPr lvl="0"/>
            <a:r>
              <a:rPr lang="en-US"/>
              <a:t>What We Di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9858CC-DC9A-3F87-0881-1E90669E26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1309" y="282575"/>
            <a:ext cx="1305265" cy="725488"/>
          </a:xfrm>
        </p:spPr>
        <p:txBody>
          <a:bodyPr anchor="ctr"/>
          <a:lstStyle>
            <a:lvl1pPr marL="0" indent="0" algn="ctr">
              <a:buNone/>
              <a:defRPr sz="800" b="0" i="0" spc="3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063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Text Case Study Nam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B9245E3-AF57-61D2-690D-8457B6CB4C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15394"/>
      </p:ext>
    </p:extLst>
  </p:cSld>
  <p:clrMapOvr>
    <a:masterClrMapping/>
  </p:clrMapOvr>
  <p:transition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WWTD 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4C2E4C5-D48E-B4C9-66E4-20F261E7A0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482701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Client with Logo WWT Bra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7BDC91-127F-AB7F-8CFD-03E679E009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59709" y="1"/>
            <a:ext cx="5532291" cy="6297793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2" name="Rounded Rectangle">
            <a:extLst>
              <a:ext uri="{FF2B5EF4-FFF2-40B4-BE49-F238E27FC236}">
                <a16:creationId xmlns:a16="http://schemas.microsoft.com/office/drawing/2014/main" id="{846FFAFF-7C7B-1906-A0F6-88E3F305DE24}"/>
              </a:ext>
            </a:extLst>
          </p:cNvPr>
          <p:cNvSpPr/>
          <p:nvPr userDrawn="1"/>
        </p:nvSpPr>
        <p:spPr>
          <a:xfrm>
            <a:off x="380700" y="-499471"/>
            <a:ext cx="1561340" cy="1642131"/>
          </a:xfrm>
          <a:prstGeom prst="roundRect">
            <a:avLst>
              <a:gd name="adj" fmla="val 12420"/>
            </a:avLst>
          </a:prstGeom>
          <a:solidFill>
            <a:srgbClr val="FFFFFF"/>
          </a:solidFill>
          <a:ln w="12700">
            <a:miter lim="400000"/>
          </a:ln>
          <a:effectLst>
            <a:outerShdw blurRad="609600" dist="64868" dir="5400000" rotWithShape="0">
              <a:srgbClr val="000000">
                <a:alpha val="15102"/>
              </a:srgbClr>
            </a:outerShdw>
          </a:effectLst>
        </p:spPr>
        <p:txBody>
          <a:bodyPr lIns="0" tIns="0" rIns="0" bIns="0" anchor="ctr"/>
          <a:lstStyle/>
          <a:p>
            <a:pPr>
              <a:lnSpc>
                <a:spcPts val="1400"/>
              </a:lnSpc>
              <a:defRPr sz="1200" b="0">
                <a:solidFill>
                  <a:srgbClr val="0000EE"/>
                </a:solidFill>
                <a:latin typeface="Times"/>
                <a:ea typeface="Times"/>
                <a:cs typeface="Times"/>
                <a:sym typeface="Times"/>
              </a:defRPr>
            </a:pPr>
            <a:endParaRPr sz="600" b="0" i="0">
              <a:latin typeface="Montserrat" pitchFamily="2" charset="77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2B82CAE-B750-E883-4E1C-1D8112F35A2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647" y="214926"/>
            <a:ext cx="1251042" cy="770594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DC1B32-9892-725C-A7F3-62C3F65175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701" y="1484992"/>
            <a:ext cx="5934432" cy="1201737"/>
          </a:xfrm>
        </p:spPr>
        <p:txBody>
          <a:bodyPr/>
          <a:lstStyle>
            <a:lvl1pPr marL="0" indent="0">
              <a:buNone/>
              <a:defRPr sz="36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tatement Headline Goes He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DFA748-688F-EDCD-D7DE-AB2E1B0294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701" y="2841048"/>
            <a:ext cx="5934432" cy="119062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400" b="0" i="0"/>
            </a:lvl1pPr>
            <a:lvl2pPr marL="457063" indent="0">
              <a:buNone/>
              <a:defRPr sz="1100"/>
            </a:lvl2pPr>
            <a:lvl3pPr marL="914126" indent="0">
              <a:buNone/>
              <a:defRPr sz="1100"/>
            </a:lvl3pPr>
            <a:lvl4pPr marL="1371189" indent="0">
              <a:buNone/>
              <a:defRPr sz="1100"/>
            </a:lvl4pPr>
            <a:lvl5pPr marL="1828252" indent="0">
              <a:buNone/>
              <a:defRPr sz="11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Proin mi mi, </a:t>
            </a:r>
            <a:r>
              <a:rPr lang="en-US" err="1"/>
              <a:t>tincidunt</a:t>
            </a:r>
            <a:r>
              <a:rPr lang="en-US"/>
              <a:t> vitae </a:t>
            </a:r>
            <a:r>
              <a:rPr lang="en-US" err="1"/>
              <a:t>sollicitudin</a:t>
            </a:r>
            <a:r>
              <a:rPr lang="en-US"/>
              <a:t> at, cursus sed </a:t>
            </a:r>
            <a:r>
              <a:rPr lang="en-US" err="1"/>
              <a:t>puru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vel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,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A56179-45BD-6E0A-0EB6-C80AE5C75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99" y="4529934"/>
            <a:ext cx="5934033" cy="1101046"/>
          </a:xfrm>
        </p:spPr>
        <p:txBody>
          <a:bodyPr/>
          <a:lstStyle>
            <a:lvl1pPr>
              <a:defRPr sz="900" b="0" i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FF74EE3-A4D4-73D6-E835-E75E790455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700" y="4118658"/>
            <a:ext cx="5916171" cy="346075"/>
          </a:xfrm>
        </p:spPr>
        <p:txBody>
          <a:bodyPr/>
          <a:lstStyle>
            <a:lvl1pPr marL="0" indent="0">
              <a:buNone/>
              <a:defRPr sz="1600" b="1" i="0" spc="0"/>
            </a:lvl1pPr>
          </a:lstStyle>
          <a:p>
            <a:pPr lvl="0"/>
            <a:r>
              <a:rPr lang="en-US"/>
              <a:t>What We Did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FE53020-2B41-96EF-C9C6-26C80C25D3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201133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Confidential Client No Logo WWT 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7BDC91-127F-AB7F-8CFD-03E679E009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59709" y="1"/>
            <a:ext cx="5532291" cy="6297793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2" name="Rounded Rectangle">
            <a:extLst>
              <a:ext uri="{FF2B5EF4-FFF2-40B4-BE49-F238E27FC236}">
                <a16:creationId xmlns:a16="http://schemas.microsoft.com/office/drawing/2014/main" id="{846FFAFF-7C7B-1906-A0F6-88E3F305DE24}"/>
              </a:ext>
            </a:extLst>
          </p:cNvPr>
          <p:cNvSpPr/>
          <p:nvPr userDrawn="1"/>
        </p:nvSpPr>
        <p:spPr>
          <a:xfrm>
            <a:off x="380700" y="-499471"/>
            <a:ext cx="1561340" cy="1642131"/>
          </a:xfrm>
          <a:prstGeom prst="roundRect">
            <a:avLst>
              <a:gd name="adj" fmla="val 12420"/>
            </a:avLst>
          </a:prstGeom>
          <a:solidFill>
            <a:srgbClr val="FFFFFF"/>
          </a:solidFill>
          <a:ln w="12700">
            <a:miter lim="400000"/>
          </a:ln>
          <a:effectLst>
            <a:outerShdw blurRad="609600" dist="64868" dir="5400000" rotWithShape="0">
              <a:srgbClr val="000000">
                <a:alpha val="15102"/>
              </a:srgbClr>
            </a:outerShdw>
          </a:effectLst>
        </p:spPr>
        <p:txBody>
          <a:bodyPr lIns="0" tIns="0" rIns="0" bIns="0" anchor="ctr"/>
          <a:lstStyle/>
          <a:p>
            <a:pPr>
              <a:lnSpc>
                <a:spcPts val="1400"/>
              </a:lnSpc>
              <a:defRPr sz="1200" b="0">
                <a:solidFill>
                  <a:srgbClr val="0000EE"/>
                </a:solidFill>
                <a:latin typeface="Times"/>
                <a:ea typeface="Times"/>
                <a:cs typeface="Times"/>
                <a:sym typeface="Times"/>
              </a:defRPr>
            </a:pPr>
            <a:endParaRPr sz="600" b="0" i="0">
              <a:latin typeface="Montserrat" pitchFamily="2" charset="77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DC1B32-9892-725C-A7F3-62C3F65175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701" y="1484992"/>
            <a:ext cx="5934432" cy="1201737"/>
          </a:xfrm>
        </p:spPr>
        <p:txBody>
          <a:bodyPr/>
          <a:lstStyle>
            <a:lvl1pPr marL="0" indent="0">
              <a:buNone/>
              <a:defRPr sz="36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tatement Headline Goes He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DFA748-688F-EDCD-D7DE-AB2E1B0294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701" y="2841048"/>
            <a:ext cx="5934432" cy="119062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400" b="0" i="0"/>
            </a:lvl1pPr>
            <a:lvl2pPr marL="457063" indent="0">
              <a:buNone/>
              <a:defRPr sz="1100"/>
            </a:lvl2pPr>
            <a:lvl3pPr marL="914126" indent="0">
              <a:buNone/>
              <a:defRPr sz="1100"/>
            </a:lvl3pPr>
            <a:lvl4pPr marL="1371189" indent="0">
              <a:buNone/>
              <a:defRPr sz="1100"/>
            </a:lvl4pPr>
            <a:lvl5pPr marL="1828252" indent="0">
              <a:buNone/>
              <a:defRPr sz="11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Proin mi mi, </a:t>
            </a:r>
            <a:r>
              <a:rPr lang="en-US" err="1"/>
              <a:t>tincidunt</a:t>
            </a:r>
            <a:r>
              <a:rPr lang="en-US"/>
              <a:t> vitae </a:t>
            </a:r>
            <a:r>
              <a:rPr lang="en-US" err="1"/>
              <a:t>sollicitudin</a:t>
            </a:r>
            <a:r>
              <a:rPr lang="en-US"/>
              <a:t> at, cursus sed </a:t>
            </a:r>
            <a:r>
              <a:rPr lang="en-US" err="1"/>
              <a:t>puru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vel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,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A56179-45BD-6E0A-0EB6-C80AE5C75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99" y="4529934"/>
            <a:ext cx="5934033" cy="1101046"/>
          </a:xfrm>
        </p:spPr>
        <p:txBody>
          <a:bodyPr/>
          <a:lstStyle>
            <a:lvl1pPr>
              <a:defRPr sz="900" b="0" i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FF74EE3-A4D4-73D6-E835-E75E790455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700" y="4118658"/>
            <a:ext cx="5916171" cy="346075"/>
          </a:xfrm>
        </p:spPr>
        <p:txBody>
          <a:bodyPr/>
          <a:lstStyle>
            <a:lvl1pPr marL="0" indent="0">
              <a:buNone/>
              <a:defRPr sz="1600" b="1" i="0" spc="0"/>
            </a:lvl1pPr>
          </a:lstStyle>
          <a:p>
            <a:pPr lvl="0"/>
            <a:r>
              <a:rPr lang="en-US"/>
              <a:t>What We Di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9858CC-DC9A-3F87-0881-1E90669E26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1309" y="282575"/>
            <a:ext cx="1305265" cy="725488"/>
          </a:xfrm>
        </p:spPr>
        <p:txBody>
          <a:bodyPr anchor="ctr"/>
          <a:lstStyle>
            <a:lvl1pPr marL="0" indent="0" algn="ctr">
              <a:buNone/>
              <a:defRPr sz="900" b="0" i="0" spc="150" baseline="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063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Text Case Study Nam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091DD7-8CC6-8631-2505-426E86E521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036916"/>
      </p:ext>
    </p:extLst>
  </p:cSld>
  <p:clrMapOvr>
    <a:masterClrMapping/>
  </p:clrMapOvr>
  <p:transition spd="med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WWT Bla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091DD7-8CC6-8631-2505-426E86E521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77294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&amp; Navy Diagon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31EFEEAE-7323-2046-90DA-0CB5B73E5AD8}"/>
              </a:ext>
            </a:extLst>
          </p:cNvPr>
          <p:cNvSpPr/>
          <p:nvPr userDrawn="1"/>
        </p:nvSpPr>
        <p:spPr>
          <a:xfrm flipH="1">
            <a:off x="1" y="1379505"/>
            <a:ext cx="12192000" cy="54784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600" y="21600"/>
                </a:lnTo>
                <a:lnTo>
                  <a:pt x="21591" y="11587"/>
                </a:lnTo>
                <a:lnTo>
                  <a:pt x="0" y="0"/>
                </a:lnTo>
                <a:close/>
              </a:path>
            </a:pathLst>
          </a:custGeom>
          <a:solidFill>
            <a:srgbClr val="133C55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600" b="0" i="0">
              <a:latin typeface="Montserrat" pitchFamily="2" charset="77"/>
            </a:endParaRPr>
          </a:p>
        </p:txBody>
      </p:sp>
      <p:pic>
        <p:nvPicPr>
          <p:cNvPr id="2" name="Picture 1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A9E0CBB5-21FA-310A-7171-8B9DAF42C2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6725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3AAC79-646E-334D-A343-60686B1056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4578629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3AAC79-646E-334D-A343-60686B105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1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1"/>
            <a:ext cx="5181600" cy="476645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42381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351113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9" rIns="121917" bIns="60959"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43845144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13508B-B238-40BC-B19A-EBA3E172CB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3787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13508B-B238-40BC-B19A-EBA3E172CB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528" y="1854201"/>
            <a:ext cx="10338528" cy="165576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customer name &amp; projec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4528" y="3470060"/>
            <a:ext cx="7375649" cy="4797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accent2">
                    <a:lumMod val="40000"/>
                    <a:lumOff val="60000"/>
                  </a:schemeClr>
                </a:solidFill>
                <a:latin typeface="+mn-lt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eeting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1" y="916290"/>
            <a:ext cx="2792832" cy="79191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49F38C-0B23-402B-8788-FF8702A5D7D8}"/>
              </a:ext>
            </a:extLst>
          </p:cNvPr>
          <p:cNvSpPr txBox="1"/>
          <p:nvPr userDrawn="1"/>
        </p:nvSpPr>
        <p:spPr>
          <a:xfrm>
            <a:off x="794528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© 2023</a:t>
            </a:r>
            <a:r>
              <a:rPr lang="en-US" sz="1067" b="0" i="0" kern="1200" baseline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8741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White)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B982697-23C3-418F-969A-4F5D7BA3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1128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B982697-23C3-418F-969A-4F5D7BA3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018D5E5-7E92-44A9-8856-80C1B9FF1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800" b="1" i="0" cap="none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here to insert 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4108034-3D4F-46F2-A702-118ACFB76C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0725" y="1357313"/>
            <a:ext cx="10860088" cy="50434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1143000" indent="-228600">
              <a:buFont typeface="AppleSymbols" panose="02000000000000000000" pitchFamily="2" charset="-79"/>
              <a:buChar char="⎼"/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4" descr="FedEx Logo transparent PNG - StickPNG">
            <a:extLst>
              <a:ext uri="{FF2B5EF4-FFF2-40B4-BE49-F238E27FC236}">
                <a16:creationId xmlns:a16="http://schemas.microsoft.com/office/drawing/2014/main" id="{8DB82A0C-D1B6-8E92-3287-C5124B9EBA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3665" y="6096318"/>
            <a:ext cx="1217610" cy="97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2956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White)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B982697-23C3-418F-969A-4F5D7BA3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469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B982697-23C3-418F-969A-4F5D7BA3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018D5E5-7E92-44A9-8856-80C1B9FF1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4055" y="274638"/>
            <a:ext cx="11663891" cy="61325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algn="l">
              <a:defRPr sz="2800" b="1" i="0" cap="none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here to insert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F706F6-DF8C-ECE4-7415-E7140AC83CD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124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B6FAF7-2A9E-4C55-86A1-E20CA00735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582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B6FAF7-2A9E-4C55-86A1-E20CA0073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8" y="1854201"/>
            <a:ext cx="7375649" cy="165576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1" y="916284"/>
            <a:ext cx="2792832" cy="791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1FEECE-7340-4D1D-844B-E497A8CBD6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duotone>
              <a:prstClr val="black"/>
              <a:schemeClr val="accent3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DA7816-2BEF-49C4-B140-3CE1C965C766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© 2023</a:t>
            </a:r>
            <a:r>
              <a:rPr lang="en-US" sz="1067" b="0" i="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0945B47-49F4-4C7F-0422-98793196AC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4528" y="3470060"/>
            <a:ext cx="7375649" cy="4797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accent2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eeting 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9145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7111CB9-C321-4732-9C83-FFF60EFB9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9532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7111CB9-C321-4732-9C83-FFF60EFB9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5" y="1576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8"/>
            <a:ext cx="10515600" cy="13063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  <a:latin typeface="+mn-lt"/>
              </a:defRPr>
            </a:lvl1pPr>
            <a:lvl2pPr marL="4571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96"/>
            <a:ext cx="2293584" cy="5027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7898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BB0433-7909-5E5C-1EA6-35DCC57FB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599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BB0433-7909-5E5C-1EA6-35DCC57FB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52401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00352A-BD43-4A6C-BD67-55BD2F37C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352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C00352A-BD43-4A6C-BD67-55BD2F37C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075493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EE7AD-F80D-A441-7466-E500495D7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takeholders</a:t>
            </a:r>
          </a:p>
        </p:txBody>
      </p:sp>
    </p:spTree>
    <p:extLst>
      <p:ext uri="{BB962C8B-B14F-4D97-AF65-F5344CB8AC3E}">
        <p14:creationId xmlns:p14="http://schemas.microsoft.com/office/powerpoint/2010/main" val="41870326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3C2C1DE-F936-0D46-98FA-76081C898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813077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3C2C1DE-F936-0D46-98FA-76081C898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811922"/>
          </a:xfrm>
        </p:spPr>
        <p:txBody>
          <a:bodyPr vert="horz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40695"/>
            <a:ext cx="5157787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316265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40695"/>
            <a:ext cx="5183188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16265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92741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(White) - Blank &amp; Tag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B982697-23C3-418F-969A-4F5D7BA3B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747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B982697-23C3-418F-969A-4F5D7BA3B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C018D5E5-7E92-44A9-8856-80C1B9FF13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0683" cy="613258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defRPr sz="2800" b="1" i="0" cap="none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here to insert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AF82248-095C-E4F0-C817-84C12579A7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989" y="830028"/>
            <a:ext cx="10674350" cy="365125"/>
          </a:xfrm>
          <a:prstGeom prst="rect">
            <a:avLst/>
          </a:prstGeom>
        </p:spPr>
        <p:txBody>
          <a:bodyPr/>
          <a:lstStyle>
            <a:lvl1pPr>
              <a:defRPr sz="1800" i="1"/>
            </a:lvl1pPr>
          </a:lstStyle>
          <a:p>
            <a:pPr lvl="0"/>
            <a:r>
              <a:rPr lang="en-US"/>
              <a:t>Click to insert taglin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03140A1-4AD7-C9FE-AEA5-107B1E2832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21937" y="6664707"/>
            <a:ext cx="365760" cy="182880"/>
          </a:xfrm>
        </p:spPr>
        <p:txBody>
          <a:bodyPr/>
          <a:lstStyle>
            <a:lvl1pPr>
              <a:defRPr sz="1100"/>
            </a:lvl1pPr>
          </a:lstStyle>
          <a:p>
            <a:fld id="{590844AD-CB3B-4EEE-AD68-5C3258E142B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28802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4DE914-BE27-2C91-86D6-EB017C7186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24386" y="6309230"/>
            <a:ext cx="654876" cy="35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33163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D6D75FD-F495-4632-BF15-D50E50A196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10518"/>
            <a:ext cx="10515600" cy="4766452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7"/>
            <a:ext cx="12192000" cy="9386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708D89-33CF-4A1F-8918-F9DE3D28E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8554" y="988523"/>
            <a:ext cx="10515709" cy="377048"/>
          </a:xfrm>
        </p:spPr>
        <p:txBody>
          <a:bodyPr/>
          <a:lstStyle>
            <a:lvl1pPr marL="0" indent="0">
              <a:buNone/>
              <a:defRPr sz="1800" b="1"/>
            </a:lvl1pPr>
            <a:lvl2pPr marL="457167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501E587-9B45-4316-A345-57357C863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839768-7CD8-3012-0EE8-BE64E83563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24386" y="6309230"/>
            <a:ext cx="654876" cy="35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42070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74638"/>
            <a:ext cx="10970683" cy="61325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799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39952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D1F2FED-4299-467D-9C20-1066455B63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0309845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5D7CC5-2709-AC25-31AD-0DDF5ABD6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9DABC-EBE9-EE4A-B705-E4D068DFA0F0}" type="datetimeFigureOut">
              <a:rPr lang="en-US" smtClean="0"/>
              <a:t>10/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3FC716-7DB0-E002-AC2D-4209589EF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803FF-5F75-51C5-54BE-3A68C81B3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C17D64-FD04-CB4B-8BD5-CA1AD28DA2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90297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E52E9FB-5E57-5105-71F6-5C83853F05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706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3" imgH="336" progId="TCLayout.ActiveDocument.1">
                  <p:embed/>
                </p:oleObj>
              </mc:Choice>
              <mc:Fallback>
                <p:oleObj name="think-cell Slide" r:id="rId3" imgW="333" imgH="33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E52E9FB-5E57-5105-71F6-5C83853F05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A677169-CDC6-4034-9FC5-31E08D578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2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B42EB1F-B8F4-4806-A247-027DBB961C4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2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419459177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74638"/>
            <a:ext cx="10970683" cy="61325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799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add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E448B19-0CB4-3043-9B1D-AE5E1E187FC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08541" y="6525492"/>
            <a:ext cx="11650950" cy="23552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382513003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CBD5E16-3B11-3B4E-939E-C44AA8852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12790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CBD5E16-3B11-3B4E-939E-C44AA8852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6"/>
            <a:ext cx="12192000" cy="9386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50" y="6367413"/>
            <a:ext cx="491157" cy="26857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C0D58E-0A8D-6848-9729-2D1DEC2E40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2906" y="6492875"/>
            <a:ext cx="649094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FA41B7-D6E1-4CE7-979C-95137B90FF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121212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21212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CA1F6E7-7538-CA44-A38A-986F1DA98B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5829" y="6466418"/>
            <a:ext cx="7731368" cy="261745"/>
          </a:xfrm>
        </p:spPr>
        <p:txBody>
          <a:bodyPr/>
          <a:lstStyle>
            <a:lvl1pPr marL="0" indent="0">
              <a:buNone/>
              <a:defRPr sz="1000"/>
            </a:lvl1pPr>
            <a:lvl2pPr marL="457086" indent="0">
              <a:buNone/>
              <a:defRPr sz="1000"/>
            </a:lvl2pPr>
            <a:lvl3pPr marL="914171" indent="0">
              <a:buNone/>
              <a:defRPr sz="10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</a:lstStyle>
          <a:p>
            <a:pPr lvl="0"/>
            <a:r>
              <a:rPr lang="en-US"/>
              <a:t>Insert source and/or footnotes her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41D6EC9-2400-CA44-935E-0132E5ADE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538512"/>
      </p:ext>
    </p:extLst>
  </p:cSld>
  <p:clrMapOvr>
    <a:masterClrMapping/>
  </p:clrMapOvr>
  <p:hf hdr="0" ft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080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982E789-8744-D246-A980-316EC32C88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7017811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982E789-8744-D246-A980-316EC32C88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5604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with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6764136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520"/>
              </a:spcAft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520"/>
              </a:spcAft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520"/>
              </a:spcAft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520"/>
              </a:spcAft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52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65F83B3C-9835-418C-A8E8-4CF7BB7CF50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42" y="6448642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2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extLst>
      <p:ext uri="{BB962C8B-B14F-4D97-AF65-F5344CB8AC3E}">
        <p14:creationId xmlns:p14="http://schemas.microsoft.com/office/powerpoint/2010/main" val="33353913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8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8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1" y="916290"/>
            <a:ext cx="2792832" cy="7919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579AE1-0EF4-48E2-89A1-E8BFCB832B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49F38C-0B23-402B-8788-FF8702A5D7D8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2</a:t>
            </a:r>
            <a:r>
              <a:rPr lang="en-US" sz="1067" b="0" i="0" kern="1200" baseline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653918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8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8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1" y="916284"/>
            <a:ext cx="2792832" cy="791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1FEECE-7340-4D1D-844B-E497A8CBD6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duotone>
              <a:prstClr val="black"/>
              <a:schemeClr val="accent3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DA7816-2BEF-49C4-B140-3CE1C965C766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2</a:t>
            </a:r>
            <a:r>
              <a:rPr lang="en-US" sz="1067" b="0" i="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509135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5" y="1576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8"/>
            <a:ext cx="10515600" cy="130630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96"/>
            <a:ext cx="2293584" cy="50276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0479683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A677169-CDC6-4034-9FC5-31E08D578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3B42EB1F-B8F4-4806-A247-027DBB961C4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231715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D6D75FD-F495-4632-BF15-D50E50A196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10518"/>
            <a:ext cx="10515600" cy="4766452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7"/>
            <a:ext cx="12192000" cy="93867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708D89-33CF-4A1F-8918-F9DE3D28E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8554" y="988523"/>
            <a:ext cx="10515709" cy="377048"/>
          </a:xfrm>
        </p:spPr>
        <p:txBody>
          <a:bodyPr/>
          <a:lstStyle>
            <a:lvl1pPr marL="0" indent="0">
              <a:buNone/>
              <a:defRPr sz="1800" b="1"/>
            </a:lvl1pPr>
            <a:lvl2pPr marL="457167" indent="0">
              <a:buNone/>
              <a:defRPr/>
            </a:lvl2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501E587-9B45-4316-A345-57357C863B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3562BE6D-8AEE-4D0E-B1A5-14DF8F6A0D9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453940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D1F2FED-4299-467D-9C20-1066455B63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983241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1397FE-DEA1-6D44-9EA0-08CAF10EDF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D97CD980-4659-4714-A3A3-8B7809B9915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500839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 userDrawn="1"/>
        </p:nvSpPr>
        <p:spPr>
          <a:xfrm>
            <a:off x="7367407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2"/>
            <a:ext cx="6220899" cy="54770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35"/>
            <a:ext cx="6220899" cy="490160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6" y="287080"/>
            <a:ext cx="6221287" cy="354271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9" y="0"/>
            <a:ext cx="4824596" cy="34290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1" y="3667925"/>
            <a:ext cx="3952064" cy="267971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52A631-2ADD-43B8-97BA-92E35D8CE8C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197665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wo content z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957381" cy="811921"/>
          </a:xfrm>
        </p:spPr>
        <p:txBody>
          <a:bodyPr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957381" cy="476645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95A3962-55ED-8C40-AA36-DC8AC2758F03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596320" y="1410515"/>
            <a:ext cx="4099641" cy="4766452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9E53EA4-444F-4B5A-B892-3A3DAAB1C5B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56021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1A3DE76-68B8-F546-9AAF-AAF342D655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6218812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1A3DE76-68B8-F546-9AAF-AAF342D65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vert="horz"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>
            <a:noAutofit/>
          </a:bodyPr>
          <a:lstStyle>
            <a:lvl1pPr>
              <a:defRPr sz="2699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211920"/>
            <a:ext cx="3932237" cy="365706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DB2E16-32A4-AF4B-9059-DD4B3639E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89523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8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957381" cy="8119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957381" cy="47664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20" y="365128"/>
            <a:ext cx="4099641" cy="5811837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8E391B03-2A5A-4B4E-BF6A-14340D6FD42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176515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0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87780" y="365133"/>
            <a:ext cx="5957381" cy="81192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7780" y="1410515"/>
            <a:ext cx="5957381" cy="47664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3" y="0"/>
            <a:ext cx="4900972" cy="68580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8AC9FD-618E-B24B-9587-DE9E8F9E1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8A5302CD-6728-496B-929A-6B1557F54F12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530869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10515"/>
            <a:ext cx="5181600" cy="47664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10515"/>
            <a:ext cx="5181600" cy="476645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F10EE1-DD34-B345-A74A-427B234620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FE17D3-BAA5-4063-9715-9D8A99BA196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555955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340695"/>
            <a:ext cx="5157787" cy="823912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30" indent="0">
              <a:buNone/>
              <a:defRPr sz="1600" b="1"/>
            </a:lvl4pPr>
            <a:lvl5pPr marL="1828573" indent="0">
              <a:buNone/>
              <a:defRPr sz="1600" b="1"/>
            </a:lvl5pPr>
            <a:lvl6pPr marL="2285718" indent="0">
              <a:buNone/>
              <a:defRPr sz="1600" b="1"/>
            </a:lvl6pPr>
            <a:lvl7pPr marL="2742858" indent="0">
              <a:buNone/>
              <a:defRPr sz="1600" b="1"/>
            </a:lvl7pPr>
            <a:lvl8pPr marL="3200000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316270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340695"/>
            <a:ext cx="5183188" cy="823912"/>
          </a:xfrm>
        </p:spPr>
        <p:txBody>
          <a:bodyPr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143" indent="0">
              <a:buNone/>
              <a:defRPr sz="2000" b="1"/>
            </a:lvl2pPr>
            <a:lvl3pPr marL="914286" indent="0">
              <a:buNone/>
              <a:defRPr sz="1800" b="1"/>
            </a:lvl3pPr>
            <a:lvl4pPr marL="1371430" indent="0">
              <a:buNone/>
              <a:defRPr sz="1600" b="1"/>
            </a:lvl4pPr>
            <a:lvl5pPr marL="1828573" indent="0">
              <a:buNone/>
              <a:defRPr sz="1600" b="1"/>
            </a:lvl5pPr>
            <a:lvl6pPr marL="2285718" indent="0">
              <a:buNone/>
              <a:defRPr sz="1600" b="1"/>
            </a:lvl6pPr>
            <a:lvl7pPr marL="2742858" indent="0">
              <a:buNone/>
              <a:defRPr sz="1600" b="1"/>
            </a:lvl7pPr>
            <a:lvl8pPr marL="3200000" indent="0">
              <a:buNone/>
              <a:defRPr sz="1600" b="1"/>
            </a:lvl8pPr>
            <a:lvl9pPr marL="365714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316270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B30C50F-4B47-417D-9B38-0194F2E3A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EB3B8491-C628-4787-8129-EF593935B0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265558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279C3E-A58B-2242-A545-FD30234FD1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559AE80-4F93-FA4F-B929-081C7576BF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3"/>
            <a:ext cx="6172200" cy="4873625"/>
          </a:xfrm>
        </p:spPr>
        <p:txBody>
          <a:bodyPr>
            <a:noAutofit/>
          </a:bodyPr>
          <a:lstStyle>
            <a:lvl1pPr>
              <a:defRPr sz="27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11922"/>
            <a:ext cx="3932237" cy="365706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43" indent="0">
              <a:buNone/>
              <a:defRPr sz="1400"/>
            </a:lvl2pPr>
            <a:lvl3pPr marL="914286" indent="0">
              <a:buNone/>
              <a:defRPr sz="1200"/>
            </a:lvl3pPr>
            <a:lvl4pPr marL="1371430" indent="0">
              <a:buNone/>
              <a:defRPr sz="1000"/>
            </a:lvl4pPr>
            <a:lvl5pPr marL="1828573" indent="0">
              <a:buNone/>
              <a:defRPr sz="1000"/>
            </a:lvl5pPr>
            <a:lvl6pPr marL="2285718" indent="0">
              <a:buNone/>
              <a:defRPr sz="1000"/>
            </a:lvl6pPr>
            <a:lvl7pPr marL="2742858" indent="0">
              <a:buNone/>
              <a:defRPr sz="1000"/>
            </a:lvl7pPr>
            <a:lvl8pPr marL="3200000" indent="0">
              <a:buNone/>
              <a:defRPr sz="1000"/>
            </a:lvl8pPr>
            <a:lvl9pPr marL="365714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DB2E16-32A4-AF4B-9059-DD4B3639EB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EAE9EC65-5C99-4BEF-A44F-CA870074B6B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062511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33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43" indent="0">
              <a:buNone/>
              <a:defRPr sz="2800"/>
            </a:lvl2pPr>
            <a:lvl3pPr marL="914286" indent="0">
              <a:buNone/>
              <a:defRPr sz="2400"/>
            </a:lvl3pPr>
            <a:lvl4pPr marL="1371430" indent="0">
              <a:buNone/>
              <a:defRPr sz="2000"/>
            </a:lvl4pPr>
            <a:lvl5pPr marL="1828573" indent="0">
              <a:buNone/>
              <a:defRPr sz="2000"/>
            </a:lvl5pPr>
            <a:lvl6pPr marL="2285718" indent="0">
              <a:buNone/>
              <a:defRPr sz="2000"/>
            </a:lvl6pPr>
            <a:lvl7pPr marL="2742858" indent="0">
              <a:buNone/>
              <a:defRPr sz="2000"/>
            </a:lvl7pPr>
            <a:lvl8pPr marL="3200000" indent="0">
              <a:buNone/>
              <a:defRPr sz="2000"/>
            </a:lvl8pPr>
            <a:lvl9pPr marL="3657143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11922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43" indent="0">
              <a:buNone/>
              <a:defRPr sz="1400"/>
            </a:lvl2pPr>
            <a:lvl3pPr marL="914286" indent="0">
              <a:buNone/>
              <a:defRPr sz="1200"/>
            </a:lvl3pPr>
            <a:lvl4pPr marL="1371430" indent="0">
              <a:buNone/>
              <a:defRPr sz="1000"/>
            </a:lvl4pPr>
            <a:lvl5pPr marL="1828573" indent="0">
              <a:buNone/>
              <a:defRPr sz="1000"/>
            </a:lvl5pPr>
            <a:lvl6pPr marL="2285718" indent="0">
              <a:buNone/>
              <a:defRPr sz="1000"/>
            </a:lvl6pPr>
            <a:lvl7pPr marL="2742858" indent="0">
              <a:buNone/>
              <a:defRPr sz="1000"/>
            </a:lvl7pPr>
            <a:lvl8pPr marL="3200000" indent="0">
              <a:buNone/>
              <a:defRPr sz="1000"/>
            </a:lvl8pPr>
            <a:lvl9pPr marL="365714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2DF55B-0C82-0C4F-A4E7-7BE9E9694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30DEF04-481C-43CA-B180-7310FABCF0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2739" y="6448639"/>
            <a:ext cx="11241061" cy="26857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075458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ultu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 userDrawn="1"/>
        </p:nvGrpSpPr>
        <p:grpSpPr>
          <a:xfrm>
            <a:off x="4375" y="0"/>
            <a:ext cx="12187631" cy="6858000"/>
            <a:chOff x="8739" y="-1"/>
            <a:chExt cx="24378435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39" y="5723738"/>
              <a:ext cx="799226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739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774389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F8B860-788E-C94C-8B7F-A0F8612C5C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761272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lob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3A7B6F4-6436-F242-8F6A-DD1937B4E77D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-1"/>
            <a:chExt cx="24387174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67743" y="-1"/>
              <a:ext cx="21019431" cy="1371600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F58673A-3513-5743-958C-9C412BB83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29" y="5723738"/>
              <a:ext cx="7988881" cy="799226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774389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0026E35-AE92-3445-9E54-A0E496165B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3752347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AT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C47A49E-927A-1344-A669-95309DFE1783}"/>
              </a:ext>
            </a:extLst>
          </p:cNvPr>
          <p:cNvGrpSpPr/>
          <p:nvPr userDrawn="1"/>
        </p:nvGrpSpPr>
        <p:grpSpPr>
          <a:xfrm>
            <a:off x="5214" y="0"/>
            <a:ext cx="12192203" cy="6858000"/>
            <a:chOff x="10429" y="-1"/>
            <a:chExt cx="24387581" cy="13716001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CE0A0F-E976-8C4F-A3B5-4CA233238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429" y="-1"/>
              <a:ext cx="24366316" cy="1371600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104CA5-8EFF-954C-B094-7039A51926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414813" y="5724144"/>
              <a:ext cx="7983197" cy="799185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9F57033-62A5-2F4A-A1A0-4D5EDB3A5E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925124" y="2982686"/>
              <a:ext cx="8472886" cy="1073331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4" y="365133"/>
            <a:ext cx="5774389" cy="8119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410515"/>
            <a:ext cx="5774389" cy="476645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rgbClr val="505050"/>
                </a:solidFill>
              </a:defRPr>
            </a:lvl3pPr>
            <a:lvl4pPr>
              <a:defRPr>
                <a:solidFill>
                  <a:srgbClr val="505050"/>
                </a:solidFill>
              </a:defRPr>
            </a:lvl4pPr>
            <a:lvl5pPr>
              <a:defRPr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757288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386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AA860F-4322-9D46-8295-FF5CE8CF90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803165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AA860F-4322-9D46-8295-FF5CE8CF90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vert="horz" anchor="b"/>
          <a:lstStyle>
            <a:lvl1pPr>
              <a:spcBef>
                <a:spcPts val="0"/>
              </a:spcBef>
              <a:spcAft>
                <a:spcPts val="0"/>
              </a:spcAft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211920"/>
            <a:ext cx="3932237" cy="3657068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2DF55B-0C82-0C4F-A4E7-7BE9E96949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19196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1599078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40" b="0" i="0"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1537665-E4FF-2E45-B26C-60631B29FF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75681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215840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5AE6176-C7C7-814E-B6A9-318924F3BDF0}"/>
              </a:ext>
            </a:extLst>
          </p:cNvPr>
          <p:cNvSpPr/>
          <p:nvPr userDrawn="1"/>
        </p:nvSpPr>
        <p:spPr>
          <a:xfrm>
            <a:off x="7100267" y="0"/>
            <a:ext cx="5091733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40" b="0" i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5957382" cy="81192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10511"/>
            <a:ext cx="5957382" cy="476645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AE6F173-2A3B-7F43-9627-694572B6F067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596314" y="365126"/>
            <a:ext cx="4099641" cy="5811837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106" indent="0">
              <a:buNone/>
              <a:defRPr sz="2799"/>
            </a:lvl2pPr>
            <a:lvl3pPr marL="914211" indent="0">
              <a:buNone/>
              <a:defRPr sz="2400"/>
            </a:lvl3pPr>
            <a:lvl4pPr marL="1371317" indent="0">
              <a:buNone/>
              <a:defRPr sz="2000"/>
            </a:lvl4pPr>
            <a:lvl5pPr marL="1828422" indent="0">
              <a:buNone/>
              <a:defRPr sz="2000"/>
            </a:lvl5pPr>
            <a:lvl6pPr marL="2285528" indent="0">
              <a:buNone/>
              <a:defRPr sz="2000"/>
            </a:lvl6pPr>
            <a:lvl7pPr marL="2742633" indent="0">
              <a:buNone/>
              <a:defRPr sz="2000"/>
            </a:lvl7pPr>
            <a:lvl8pPr marL="3199739" indent="0">
              <a:buNone/>
              <a:defRPr sz="2000"/>
            </a:lvl8pPr>
            <a:lvl9pPr marL="3656844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2878675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79" y="1568"/>
            <a:ext cx="12184842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2"/>
            <a:ext cx="10515600" cy="1500187"/>
          </a:xfrm>
        </p:spPr>
        <p:txBody>
          <a:bodyPr anchor="b">
            <a:normAutofit/>
          </a:bodyPr>
          <a:lstStyle>
            <a:lvl1pPr algn="ctr">
              <a:spcBef>
                <a:spcPts val="0"/>
              </a:spcBef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6"/>
            <a:ext cx="10515600" cy="174197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3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30431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1097280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1097280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1097280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, Speaker title </a:t>
            </a:r>
            <a:br>
              <a:rPr lang="en-GB" dirty="0"/>
            </a:br>
            <a:r>
              <a:rPr lang="en-GB" dirty="0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1097280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latin typeface="+mn-lt"/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6560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Sky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1097280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1097280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1097280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, Speaker title </a:t>
            </a:r>
            <a:br>
              <a:rPr lang="en-GB" dirty="0"/>
            </a:br>
            <a:r>
              <a:rPr lang="en-GB" dirty="0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1097280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latin typeface="+mn-lt"/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4237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1097280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accent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1097280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accent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1097280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, Speaker title </a:t>
            </a:r>
            <a:br>
              <a:rPr lang="en-GB" dirty="0"/>
            </a:br>
            <a:r>
              <a:rPr lang="en-GB" dirty="0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1097280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24993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722376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722376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722376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, Speaker title </a:t>
            </a:r>
            <a:br>
              <a:rPr lang="en-GB" dirty="0"/>
            </a:br>
            <a:r>
              <a:rPr lang="en-GB" dirty="0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722376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latin typeface="+mn-lt"/>
              </a:defRPr>
            </a:lvl1pPr>
          </a:lstStyle>
          <a:p>
            <a:r>
              <a:rPr lang="en-GB" dirty="0"/>
              <a:t>Dat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3142FB2B-DAA9-0877-DC48-2611FC3FC41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86061" y="0"/>
            <a:ext cx="4005943" cy="6858000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7566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Photo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722376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722376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722376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, Speaker title </a:t>
            </a:r>
            <a:br>
              <a:rPr lang="en-GB" dirty="0"/>
            </a:br>
            <a:r>
              <a:rPr lang="en-GB" dirty="0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722376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latin typeface="+mn-lt"/>
              </a:defRPr>
            </a:lvl1pPr>
          </a:lstStyle>
          <a:p>
            <a:r>
              <a:rPr lang="en-GB" dirty="0"/>
              <a:t>Dat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3142FB2B-DAA9-0877-DC48-2611FC3FC41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86061" y="0"/>
            <a:ext cx="4005943" cy="6858000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047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00B3E26-53D1-454B-8A4B-75511906C3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2538735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00B3E26-53D1-454B-8A4B-75511906C3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" y="0"/>
            <a:ext cx="1218794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1" y="1854201"/>
            <a:ext cx="7375650" cy="1655762"/>
          </a:xfrm>
        </p:spPr>
        <p:txBody>
          <a:bodyPr vert="horz" anchor="b">
            <a:noAutofit/>
          </a:bodyPr>
          <a:lstStyle>
            <a:lvl1pPr algn="l">
              <a:spcBef>
                <a:spcPts val="0"/>
              </a:spcBef>
              <a:defRPr sz="39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1" y="3602038"/>
            <a:ext cx="7375650" cy="165576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9" indent="0" algn="ctr">
              <a:buNone/>
              <a:defRPr sz="2000"/>
            </a:lvl2pPr>
            <a:lvl3pPr marL="914217" indent="0" algn="ctr">
              <a:buNone/>
              <a:defRPr sz="1800"/>
            </a:lvl3pPr>
            <a:lvl4pPr marL="1371326" indent="0" algn="ctr">
              <a:buNone/>
              <a:defRPr sz="1600"/>
            </a:lvl4pPr>
            <a:lvl5pPr marL="1828434" indent="0" algn="ctr">
              <a:buNone/>
              <a:defRPr sz="1600"/>
            </a:lvl5pPr>
            <a:lvl6pPr marL="2285543" indent="0" algn="ctr">
              <a:buNone/>
              <a:defRPr sz="1600"/>
            </a:lvl6pPr>
            <a:lvl7pPr marL="2742651" indent="0" algn="ctr">
              <a:buNone/>
              <a:defRPr sz="1600"/>
            </a:lvl7pPr>
            <a:lvl8pPr marL="3199760" indent="0" algn="ctr">
              <a:buNone/>
              <a:defRPr sz="1600"/>
            </a:lvl8pPr>
            <a:lvl9pPr marL="365686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4051" y="5846673"/>
            <a:ext cx="2284207" cy="647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976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9A3F2D-6DB4-9145-B24E-98B1A632E1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7548080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9A3F2D-6DB4-9145-B24E-98B1A632E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3C912B50-56C0-E042-933C-5F60016A649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69AE5BB-E509-BD44-9B19-3673A2CE24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94117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Photo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722376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accent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722376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accent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722376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, Speaker title </a:t>
            </a:r>
            <a:br>
              <a:rPr lang="en-GB" dirty="0"/>
            </a:br>
            <a:r>
              <a:rPr lang="en-GB" dirty="0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722376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GB" dirty="0"/>
              <a:t>Dat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3142FB2B-DAA9-0877-DC48-2611FC3FC41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86061" y="0"/>
            <a:ext cx="4005943" cy="6858000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1787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1097280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1097280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1097280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, Speaker title </a:t>
            </a:r>
            <a:br>
              <a:rPr lang="en-GB" dirty="0"/>
            </a:br>
            <a:r>
              <a:rPr lang="en-GB" dirty="0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10972800" cy="287339"/>
          </a:xfrm>
          <a:prstGeom prst="rect">
            <a:avLst/>
          </a:prstGeom>
        </p:spPr>
        <p:txBody>
          <a:bodyPr lIns="45720" rIns="45720"/>
          <a:lstStyle>
            <a:lvl1pPr marL="0" indent="0" algn="r">
              <a:spcBef>
                <a:spcPts val="0"/>
              </a:spcBef>
              <a:buNone/>
              <a:defRPr sz="1400">
                <a:latin typeface="+mn-lt"/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6601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que 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BA1FD7D-7C93-E645-B2E9-AD2B9329C1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5929" y="2789672"/>
            <a:ext cx="10232136" cy="637377"/>
          </a:xfrm>
          <a:prstGeom prst="rect">
            <a:avLst/>
          </a:prstGeom>
        </p:spPr>
        <p:txBody>
          <a:bodyPr lIns="45720" tIns="45720" rIns="45720" bIns="45720" anchor="b"/>
          <a:lstStyle>
            <a:lvl1pPr marL="0" indent="0" algn="l">
              <a:lnSpc>
                <a:spcPts val="48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Segue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41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B6C47-BF34-58BF-BFE8-DDC169C547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5929" y="2789672"/>
            <a:ext cx="10232136" cy="637377"/>
          </a:xfrm>
          <a:prstGeom prst="rect">
            <a:avLst/>
          </a:prstGeom>
        </p:spPr>
        <p:txBody>
          <a:bodyPr lIns="45720" tIns="45720" rIns="45720" bIns="45720" anchor="b"/>
          <a:lstStyle>
            <a:lvl1pPr marL="0" indent="0" algn="l">
              <a:lnSpc>
                <a:spcPts val="48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Segue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17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3FBD5B-070A-7471-FA02-D8ABC325D191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 dirty="0">
                <a:solidFill>
                  <a:schemeClr val="bg2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4  Cisco and/or its affiliates. All rights reserved.   Cisco Confidential</a:t>
            </a: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74964416-F71E-D7CA-E3FB-1B38FEC4ED6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30E683ED-333E-71AE-8D5B-04FB014DED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5929" y="2789672"/>
            <a:ext cx="10232136" cy="637377"/>
          </a:xfrm>
          <a:prstGeom prst="rect">
            <a:avLst/>
          </a:prstGeom>
        </p:spPr>
        <p:txBody>
          <a:bodyPr lIns="45720" tIns="45720" rIns="45720" bIns="45720" anchor="b"/>
          <a:lstStyle>
            <a:lvl1pPr marL="0" indent="0" algn="l">
              <a:lnSpc>
                <a:spcPts val="48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Segue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002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C4A31272-7678-5F4F-BF05-F087FA2FC8E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1120" y="2772055"/>
            <a:ext cx="10241280" cy="640080"/>
          </a:xfrm>
          <a:prstGeom prst="rect">
            <a:avLst/>
          </a:prstGeom>
        </p:spPr>
        <p:txBody>
          <a:bodyPr lIns="45720" rIns="45720" anchor="ctr"/>
          <a:lstStyle>
            <a:lvl1pPr marL="0" indent="0" algn="r">
              <a:lnSpc>
                <a:spcPts val="48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Transition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268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E487BA-D190-36C9-FC38-746943551A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1120" y="2772055"/>
            <a:ext cx="10241280" cy="640080"/>
          </a:xfrm>
          <a:prstGeom prst="rect">
            <a:avLst/>
          </a:prstGeom>
        </p:spPr>
        <p:txBody>
          <a:bodyPr lIns="45720" rIns="45720" anchor="ctr"/>
          <a:lstStyle>
            <a:lvl1pPr marL="0" indent="0" algn="r">
              <a:lnSpc>
                <a:spcPts val="48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Transition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636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16646CD-FB63-F3C0-1A8A-8157E8BB059B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 dirty="0">
                <a:solidFill>
                  <a:schemeClr val="bg2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4  Cisco and/or its affiliates. All rights reserved.   Cisco Confidential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5B019962-90BF-9C68-7A80-7C374B3C866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62D482-EDEF-0534-A336-804F44744A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1120" y="2772055"/>
            <a:ext cx="10241280" cy="640080"/>
          </a:xfrm>
          <a:prstGeom prst="rect">
            <a:avLst/>
          </a:prstGeom>
        </p:spPr>
        <p:txBody>
          <a:bodyPr lIns="45720" rIns="45720" anchor="ctr"/>
          <a:lstStyle>
            <a:lvl1pPr marL="0" indent="0" algn="r">
              <a:lnSpc>
                <a:spcPts val="48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Transition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719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055E4C37-FAD6-B449-9189-A035C0C9E8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5658221"/>
            <a:ext cx="10972800" cy="465891"/>
          </a:xfrm>
          <a:prstGeom prst="rect">
            <a:avLst/>
          </a:prstGeom>
        </p:spPr>
        <p:txBody>
          <a:bodyPr lIns="45720" tIns="45710" rIns="45720" bIns="45710" anchor="t" anchorCtr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+mn-lt"/>
                <a:cs typeface="CiscoSansT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role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ADEB85-EFB9-A048-BE6B-F1473C4999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233079"/>
            <a:ext cx="10972800" cy="398668"/>
          </a:xfrm>
          <a:prstGeom prst="rect">
            <a:avLst/>
          </a:prstGeom>
        </p:spPr>
        <p:txBody>
          <a:bodyPr lIns="45720" tIns="45710" rIns="45720" bIns="4571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peaker nam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6E3EA5B-6C70-8F4D-9385-EC53B25066C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9521" y="1398876"/>
            <a:ext cx="10376024" cy="331108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48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As the adoption of multi-cloud strategy grows, Ulla </a:t>
            </a:r>
            <a:r>
              <a:rPr lang="en-GB" dirty="0" err="1"/>
              <a:t>sitiora</a:t>
            </a:r>
            <a:r>
              <a:rPr lang="en-GB" dirty="0"/>
              <a:t> </a:t>
            </a:r>
            <a:r>
              <a:rPr lang="en-GB" dirty="0" err="1"/>
              <a:t>turest</a:t>
            </a:r>
            <a:r>
              <a:rPr lang="en-GB" dirty="0"/>
              <a:t> </a:t>
            </a:r>
            <a:r>
              <a:rPr lang="en-GB" dirty="0" err="1"/>
              <a:t>experibus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pa </a:t>
            </a:r>
            <a:r>
              <a:rPr lang="en-GB" dirty="0" err="1"/>
              <a:t>dolor</a:t>
            </a:r>
            <a:r>
              <a:rPr lang="en-GB" dirty="0"/>
              <a:t> a </a:t>
            </a:r>
            <a:r>
              <a:rPr lang="en-GB" dirty="0" err="1"/>
              <a:t>conestia</a:t>
            </a:r>
            <a:r>
              <a:rPr lang="en-GB" dirty="0"/>
              <a:t> vent </a:t>
            </a:r>
            <a:r>
              <a:rPr lang="en-GB" dirty="0" err="1"/>
              <a:t>eosse</a:t>
            </a:r>
            <a:r>
              <a:rPr lang="en-GB" dirty="0"/>
              <a:t> non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turit</a:t>
            </a:r>
            <a:r>
              <a:rPr lang="en-GB" dirty="0"/>
              <a:t> </a:t>
            </a:r>
            <a:r>
              <a:rPr lang="en-GB" dirty="0" err="1"/>
              <a:t>faccum</a:t>
            </a:r>
            <a:r>
              <a:rPr lang="en-GB" dirty="0"/>
              <a:t> qui </a:t>
            </a:r>
            <a:r>
              <a:rPr lang="en-GB" dirty="0" err="1"/>
              <a:t>dolor</a:t>
            </a:r>
            <a:r>
              <a:rPr lang="en-GB" dirty="0"/>
              <a:t> a </a:t>
            </a:r>
            <a:r>
              <a:rPr lang="en-GB" dirty="0" err="1"/>
              <a:t>num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E18B2BC-5B8F-6442-A3B3-AB5D063112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41976" y="733891"/>
            <a:ext cx="1508048" cy="836396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91B82D-853E-F074-193C-5B7F13F89D29}"/>
              </a:ext>
            </a:extLst>
          </p:cNvPr>
          <p:cNvCxnSpPr>
            <a:cxnSpLocks/>
          </p:cNvCxnSpPr>
          <p:nvPr/>
        </p:nvCxnSpPr>
        <p:spPr>
          <a:xfrm>
            <a:off x="4545878" y="4934857"/>
            <a:ext cx="3100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13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055E4C37-FAD6-B449-9189-A035C0C9E8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5658221"/>
            <a:ext cx="10972800" cy="465891"/>
          </a:xfrm>
          <a:prstGeom prst="rect">
            <a:avLst/>
          </a:prstGeom>
        </p:spPr>
        <p:txBody>
          <a:bodyPr lIns="45720" tIns="45710" rIns="45720" bIns="45710" anchor="t" anchorCtr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1"/>
                </a:solidFill>
                <a:latin typeface="+mn-lt"/>
                <a:cs typeface="CiscoSansT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role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ADEB85-EFB9-A048-BE6B-F1473C4999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233079"/>
            <a:ext cx="10972800" cy="398668"/>
          </a:xfrm>
          <a:prstGeom prst="rect">
            <a:avLst/>
          </a:prstGeom>
        </p:spPr>
        <p:txBody>
          <a:bodyPr lIns="45720" tIns="45710" rIns="45720" bIns="4571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400" b="0" i="0" baseline="0">
                <a:solidFill>
                  <a:schemeClr val="bg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peaker nam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6E3EA5B-6C70-8F4D-9385-EC53B25066C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9521" y="1398876"/>
            <a:ext cx="10376024" cy="331108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48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As the adoption of multi-cloud strategy grows, Ulla </a:t>
            </a:r>
            <a:r>
              <a:rPr lang="en-GB" dirty="0" err="1"/>
              <a:t>sitiora</a:t>
            </a:r>
            <a:r>
              <a:rPr lang="en-GB" dirty="0"/>
              <a:t> </a:t>
            </a:r>
            <a:r>
              <a:rPr lang="en-GB" dirty="0" err="1"/>
              <a:t>turest</a:t>
            </a:r>
            <a:r>
              <a:rPr lang="en-GB" dirty="0"/>
              <a:t> </a:t>
            </a:r>
            <a:r>
              <a:rPr lang="en-GB" dirty="0" err="1"/>
              <a:t>experibus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pa </a:t>
            </a:r>
            <a:r>
              <a:rPr lang="en-GB" dirty="0" err="1"/>
              <a:t>dolor</a:t>
            </a:r>
            <a:r>
              <a:rPr lang="en-GB" dirty="0"/>
              <a:t> a </a:t>
            </a:r>
            <a:r>
              <a:rPr lang="en-GB" dirty="0" err="1"/>
              <a:t>conestia</a:t>
            </a:r>
            <a:r>
              <a:rPr lang="en-GB" dirty="0"/>
              <a:t> vent </a:t>
            </a:r>
            <a:r>
              <a:rPr lang="en-GB" dirty="0" err="1"/>
              <a:t>eosse</a:t>
            </a:r>
            <a:r>
              <a:rPr lang="en-GB" dirty="0"/>
              <a:t> non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turit</a:t>
            </a:r>
            <a:r>
              <a:rPr lang="en-GB" dirty="0"/>
              <a:t> </a:t>
            </a:r>
            <a:r>
              <a:rPr lang="en-GB" dirty="0" err="1"/>
              <a:t>faccum</a:t>
            </a:r>
            <a:r>
              <a:rPr lang="en-GB" dirty="0"/>
              <a:t> qui </a:t>
            </a:r>
            <a:r>
              <a:rPr lang="en-GB" dirty="0" err="1"/>
              <a:t>dolor</a:t>
            </a:r>
            <a:r>
              <a:rPr lang="en-GB" dirty="0"/>
              <a:t> a </a:t>
            </a:r>
            <a:r>
              <a:rPr lang="en-GB" dirty="0" err="1"/>
              <a:t>num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E18B2BC-5B8F-6442-A3B3-AB5D063112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41976" y="733891"/>
            <a:ext cx="1508048" cy="836396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91B82D-853E-F074-193C-5B7F13F89D29}"/>
              </a:ext>
            </a:extLst>
          </p:cNvPr>
          <p:cNvCxnSpPr>
            <a:cxnSpLocks/>
          </p:cNvCxnSpPr>
          <p:nvPr/>
        </p:nvCxnSpPr>
        <p:spPr>
          <a:xfrm>
            <a:off x="4545878" y="4934857"/>
            <a:ext cx="310025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34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" y="0"/>
            <a:ext cx="12187945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74223" y="2707341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66196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055E4C37-FAD6-B449-9189-A035C0C9E8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5658221"/>
            <a:ext cx="10972800" cy="465891"/>
          </a:xfrm>
          <a:prstGeom prst="rect">
            <a:avLst/>
          </a:prstGeom>
        </p:spPr>
        <p:txBody>
          <a:bodyPr lIns="45720" tIns="45710" rIns="45720" bIns="45710" anchor="t" anchorCtr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2"/>
                </a:solidFill>
                <a:latin typeface="+mn-lt"/>
                <a:cs typeface="CiscoSansT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role</a:t>
            </a:r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ADEB85-EFB9-A048-BE6B-F1473C4999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233079"/>
            <a:ext cx="10972800" cy="398668"/>
          </a:xfrm>
          <a:prstGeom prst="rect">
            <a:avLst/>
          </a:prstGeom>
        </p:spPr>
        <p:txBody>
          <a:bodyPr lIns="45720" tIns="45710" rIns="45720" bIns="4571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peaker nam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6E3EA5B-6C70-8F4D-9385-EC53B25066C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9521" y="1398876"/>
            <a:ext cx="10376024" cy="331108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48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As the adoption of multi-cloud strategy grows, Ulla </a:t>
            </a:r>
            <a:r>
              <a:rPr lang="en-GB" dirty="0" err="1"/>
              <a:t>sitiora</a:t>
            </a:r>
            <a:r>
              <a:rPr lang="en-GB" dirty="0"/>
              <a:t> </a:t>
            </a:r>
            <a:r>
              <a:rPr lang="en-GB" dirty="0" err="1"/>
              <a:t>turest</a:t>
            </a:r>
            <a:r>
              <a:rPr lang="en-GB" dirty="0"/>
              <a:t> </a:t>
            </a:r>
            <a:r>
              <a:rPr lang="en-GB" dirty="0" err="1"/>
              <a:t>experibus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pa </a:t>
            </a:r>
            <a:r>
              <a:rPr lang="en-GB" dirty="0" err="1"/>
              <a:t>dolor</a:t>
            </a:r>
            <a:r>
              <a:rPr lang="en-GB" dirty="0"/>
              <a:t> a </a:t>
            </a:r>
            <a:r>
              <a:rPr lang="en-GB" dirty="0" err="1"/>
              <a:t>conestia</a:t>
            </a:r>
            <a:r>
              <a:rPr lang="en-GB" dirty="0"/>
              <a:t> vent </a:t>
            </a:r>
            <a:r>
              <a:rPr lang="en-GB" dirty="0" err="1"/>
              <a:t>eosse</a:t>
            </a:r>
            <a:r>
              <a:rPr lang="en-GB" dirty="0"/>
              <a:t> non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aturit</a:t>
            </a:r>
            <a:r>
              <a:rPr lang="en-GB" dirty="0"/>
              <a:t> </a:t>
            </a:r>
            <a:r>
              <a:rPr lang="en-GB" dirty="0" err="1"/>
              <a:t>faccum</a:t>
            </a:r>
            <a:r>
              <a:rPr lang="en-GB" dirty="0"/>
              <a:t> qui </a:t>
            </a:r>
            <a:r>
              <a:rPr lang="en-GB" dirty="0" err="1"/>
              <a:t>dolor</a:t>
            </a:r>
            <a:r>
              <a:rPr lang="en-GB" dirty="0"/>
              <a:t> a </a:t>
            </a:r>
            <a:r>
              <a:rPr lang="en-GB" dirty="0" err="1"/>
              <a:t>num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E18B2BC-5B8F-6442-A3B3-AB5D063112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41976" y="733891"/>
            <a:ext cx="1508048" cy="836396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91B82D-853E-F074-193C-5B7F13F89D29}"/>
              </a:ext>
            </a:extLst>
          </p:cNvPr>
          <p:cNvCxnSpPr>
            <a:cxnSpLocks/>
          </p:cNvCxnSpPr>
          <p:nvPr/>
        </p:nvCxnSpPr>
        <p:spPr>
          <a:xfrm>
            <a:off x="4545878" y="4934857"/>
            <a:ext cx="3100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A29ECC5C-23D8-044B-A13F-1C7CFA30043D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 dirty="0">
                <a:solidFill>
                  <a:schemeClr val="bg2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4  Cisco and/or its affiliates. All rights reserved.   Cisco Confidential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92C7939B-219A-BC07-DCE7-4B36AF2A4EA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15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8E9818-CDB2-294C-86DC-E17877CD33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964" y="2565400"/>
            <a:ext cx="5166360" cy="274320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abore</a:t>
            </a:r>
            <a:r>
              <a:rPr lang="en-GB" dirty="0"/>
              <a:t>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et dolore.</a:t>
            </a:r>
            <a:endParaRPr lang="en-GB" dirty="0"/>
          </a:p>
          <a:p>
            <a:pPr lvl="0"/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FB0ED95-38E7-2A5D-7BFA-218DE01901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967" y="1549401"/>
            <a:ext cx="5166360" cy="660401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451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5059BF6-2F19-7F49-9CBE-82197BDDFC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10938" y="2382519"/>
            <a:ext cx="5169260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B70A03-DFE5-BAFE-E792-E9F9971D5D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1966" y="2382520"/>
            <a:ext cx="5169260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F8DA8E-89D4-2754-2F23-8BC1A882CC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679" y="2932588"/>
            <a:ext cx="5166360" cy="146304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AC6832F-2D70-B8EC-0B06-A53E021306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99977" y="2932588"/>
            <a:ext cx="5166360" cy="146304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A1A354-0871-A2E1-F013-7080A6D3E5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967" y="1549401"/>
            <a:ext cx="5166360" cy="660401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8EA024-D9FE-B723-2F3F-890E3F4517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7661" y="1551433"/>
            <a:ext cx="5165819" cy="658368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822623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27A1D91-B0C5-82DE-7D46-53E481769C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967" y="2382520"/>
            <a:ext cx="3489235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5F39481-2908-3822-701D-5FF87E1F03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3165" y="2382520"/>
            <a:ext cx="3489235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BD0ABDF-0D5E-A765-9F69-3BC9541847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62645" y="2382520"/>
            <a:ext cx="3489235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3EB9F6D8-47DF-1F5B-55DF-071309C37F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62645" y="1549400"/>
            <a:ext cx="3489236" cy="6604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1B9F0F59-8C07-4391-070A-F127239E51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93165" y="1549400"/>
            <a:ext cx="3489763" cy="6604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0CFD439-E346-0E67-C9C2-132C9C4EAD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967" y="2932240"/>
            <a:ext cx="3489235" cy="182880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4CB3C8-42AF-C48C-331D-14C6776D22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93165" y="2932240"/>
            <a:ext cx="3489235" cy="182880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5EC4FE-BFD0-FE57-EEA5-41CE445414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62645" y="2932240"/>
            <a:ext cx="3489235" cy="182880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5EF17F4-A551-A381-6DF1-CED9B14FF8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967" y="1549401"/>
            <a:ext cx="3493008" cy="660401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 spc="0" baseline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813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02DD01B-53E6-C542-A933-2D42DD0D2C6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127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marketing icon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3148D23F-4FB0-0283-D700-8A06DCABC2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90621" y="2763200"/>
            <a:ext cx="5178611" cy="658368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5C6BDEC-E33F-4C34-5403-6A238AB80D5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99979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marketing ic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DFE46B3-A8B5-C645-B495-DA6D531805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1759" y="2763200"/>
            <a:ext cx="5178611" cy="658368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AF99BB75-045A-328E-9E50-C137137C81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679" y="3668309"/>
            <a:ext cx="5166360" cy="146304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2EA339-5A4D-1610-0BDA-90202AD722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99977" y="3668309"/>
            <a:ext cx="5166360" cy="146304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178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w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96CA1346-1D62-4F41-BA11-B3EEBA6B51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40227" y="2763200"/>
            <a:ext cx="3511549" cy="6658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3E5B521-5917-164E-BF18-105160A01C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6848" y="2763200"/>
            <a:ext cx="3511549" cy="6658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143D29F-44CB-0E44-8852-5377E5E8F51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9395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marketing icon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02DD01B-53E6-C542-A933-2D42DD0D2C6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127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marketing icon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E6224FA-C881-7942-88CA-85C557540C4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086662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marketing icon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6A53209-57D8-0C80-F7FB-B1A028923F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125" y="3675743"/>
            <a:ext cx="3489235" cy="164592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B629FA-854C-9FDB-35AE-257C4F46B33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50253" y="3675743"/>
            <a:ext cx="3489235" cy="164592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86DDF84-07E1-9F30-2A61-508622F128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02969" y="3675743"/>
            <a:ext cx="3489235" cy="164592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endParaRPr lang="en-GB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F16851C-FF16-C8FD-C1A2-97DC62B0B3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1759" y="2755765"/>
            <a:ext cx="3493008" cy="6658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bg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46472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8FA65F1-BAFB-6C36-2878-6CF1B8179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885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Section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 descr="Section title">
            <a:extLst>
              <a:ext uri="{FF2B5EF4-FFF2-40B4-BE49-F238E27FC236}">
                <a16:creationId xmlns:a16="http://schemas.microsoft.com/office/drawing/2014/main" id="{0C30067D-BDB2-4ED3-9FF2-9A7F7110FF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928" y="392612"/>
            <a:ext cx="54864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689D7222-F544-8734-1474-646E4190C2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722735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911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A3BF51A-3A82-60DC-93A5-2213ED8791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75B45E7-43EA-8FCF-779D-B7F08D02F59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09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2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 descr="Section title">
            <a:extLst>
              <a:ext uri="{FF2B5EF4-FFF2-40B4-BE49-F238E27FC236}">
                <a16:creationId xmlns:a16="http://schemas.microsoft.com/office/drawing/2014/main" id="{20BBFC84-0D1A-41D8-BAF7-77889FB492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928" y="392612"/>
            <a:ext cx="54864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B3BF19B-575A-779B-73CC-537ABB67E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722735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2705B8E-4073-4179-061E-6BB2F2D366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1619249"/>
            <a:ext cx="5211763" cy="45148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20ADB6-8EC0-CC3A-6343-8EB97EAED4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71700" y="1619249"/>
            <a:ext cx="5211763" cy="451485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324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" y="0"/>
            <a:ext cx="12187945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223" y="2707341"/>
            <a:ext cx="4851155" cy="1375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45068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8E9818-CDB2-294C-86DC-E17877CD33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964" y="2565400"/>
            <a:ext cx="4572000" cy="274320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abore</a:t>
            </a:r>
            <a:r>
              <a:rPr lang="en-GB" dirty="0"/>
              <a:t>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et dolore.</a:t>
            </a:r>
            <a:endParaRPr lang="en-GB" dirty="0"/>
          </a:p>
          <a:p>
            <a:pPr lvl="0"/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493A0E-205E-98C2-0661-3E250B8F3B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93EC81-A266-1756-37B4-B83297C32E10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1344FDFA-4E0E-FB13-FB45-5AECC129F5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582397"/>
            <a:ext cx="4594524" cy="634577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4419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Sky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 dirty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4EE68BB-B0C9-B5EC-846B-9A437BE668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964" y="2565400"/>
            <a:ext cx="4572000" cy="274320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abore</a:t>
            </a:r>
            <a:r>
              <a:rPr lang="en-GB" dirty="0"/>
              <a:t>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et dolore.</a:t>
            </a:r>
            <a:endParaRPr lang="en-GB" dirty="0"/>
          </a:p>
          <a:p>
            <a:pPr lvl="0"/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80CA85F-96FC-6CA6-B62F-6AD3B87CEE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D697ECA-1DF4-14D1-3EFA-CC34EEA2F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582397"/>
            <a:ext cx="4594524" cy="634577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265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Midnigh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 dirty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98433B5-A3AF-015C-FF50-9B6EFD4ED59C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 dirty="0">
                <a:solidFill>
                  <a:schemeClr val="bg2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4  Cisco and/or its affiliates. All rights reserved.   Cisco Confidential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D4B0C0A3-33C1-48B7-2BE2-945A09E048B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28A24FB-C90E-8608-90DD-14467743B5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964" y="2565400"/>
            <a:ext cx="4572000" cy="274320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abore</a:t>
            </a:r>
            <a:r>
              <a:rPr lang="en-GB" dirty="0"/>
              <a:t>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et dolore.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et dolore.</a:t>
            </a:r>
            <a:endParaRPr lang="en-GB" dirty="0"/>
          </a:p>
          <a:p>
            <a:pPr lvl="0"/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96A67E-A1D7-9527-29EB-EF2FEEA57D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58130C6-64C1-4324-51CC-4C096C992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582397"/>
            <a:ext cx="4594524" cy="634577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675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White 1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1EFE848-FBF2-0C2C-70C7-541164BEA728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 dirty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BE0368-12F7-D52E-F159-299C7A027BAC}"/>
              </a:ext>
            </a:extLst>
          </p:cNvPr>
          <p:cNvSpPr txBox="1">
            <a:spLocks/>
          </p:cNvSpPr>
          <p:nvPr/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4400" b="0" i="0" u="none" kern="1200">
                <a:solidFill>
                  <a:schemeClr val="accent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595"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9190"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8785"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8379" algn="l" defTabSz="91227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267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4400" dirty="0">
                <a:solidFill>
                  <a:schemeClr val="bg1"/>
                </a:solidFill>
              </a:rPr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66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Sky 1b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85212" y="0"/>
            <a:ext cx="6106789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 dirty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D046DA-7F8D-D93E-4767-7220FA5FC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152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Midnight 1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85212" y="0"/>
            <a:ext cx="6106789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 dirty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C2B0B16-6FD5-BE2F-C1B8-70937A5FE1F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 dirty="0">
                <a:solidFill>
                  <a:schemeClr val="bg2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4  Cisco and/or its affiliates. All rights reserved.   Cisco Confidential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FD8D3F5B-9B87-E1E6-0BC7-F47655028AA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F32D2A-AF9C-9AB4-07AC-81C3BE7762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7175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Whit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D54B198-906C-DED8-39CD-143C051E0AB8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 dirty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6340164-DEFF-0BA4-370E-859A0468D0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2911" y="736602"/>
            <a:ext cx="4842181" cy="5384799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99E3E55-8166-7139-C253-102273D36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4057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Sky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 dirty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2102193-3492-4BAB-8F98-FC7C55191E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2911" y="736602"/>
            <a:ext cx="4842181" cy="5384799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678C93B-D86B-F551-9504-47EEC4B63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056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Midnigh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C2B0B16-6FD5-BE2F-C1B8-70937A5FE1F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 dirty="0">
                <a:solidFill>
                  <a:schemeClr val="bg2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4  Cisco and/or its affiliates. All rights reserved.   Cisco Confidential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FD8D3F5B-9B87-E1E6-0BC7-F47655028AA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F336399-B83B-D450-D7E9-D04E0D0AE3D1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 dirty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C7D05B-CC63-FBAA-768B-D092C4B242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2911" y="736602"/>
            <a:ext cx="4842181" cy="5384799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356B89E-D2D7-929C-273F-CBC73FF73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8430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Whit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FD61106-D3DD-0F37-EFE8-57DD295D00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496D4BA-1A90-CD12-46A7-BEFF3610D8B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0840" y="746203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5754773-B320-74FF-360B-AE12573C9FE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20840" y="2605600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E77DDFA-F376-BD29-5DEA-72F5308CBF7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20840" y="4464997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2102193-3492-4BAB-8F98-FC7C55191E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0840" y="1246523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A6491F4-97AD-1094-3D4C-75416A30CE3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20840" y="3105920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92FD8C7-8C8B-6909-C32B-EAA567C1FEF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0840" y="4965316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97C18FD-8F1B-2986-B145-F4D51FBC37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88961B96-5529-2E18-4428-44E2322295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253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4D148C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0" y="5688964"/>
            <a:ext cx="12192000" cy="1169037"/>
          </a:xfrm>
          <a:prstGeom prst="rect">
            <a:avLst/>
          </a:prstGeom>
          <a:solidFill>
            <a:srgbClr val="FFFFFF"/>
          </a:solidFill>
          <a:ln w="98425">
            <a:noFill/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en-US" sz="1600" b="0" i="0" kern="0">
                <a:solidFill>
                  <a:srgbClr val="FFFFFF"/>
                </a:solidFill>
                <a:latin typeface="Montserrat" pitchFamily="2" charset="77"/>
                <a:cs typeface="Arial"/>
                <a:sym typeface="Helvetica Neue Medium"/>
              </a:rPr>
              <a:t>P</a:t>
            </a: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5898313" y="6046843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BCD88D3-776E-472A-2219-A8265AB7AD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2C3CC04-FF47-4CB5-B3C0-5E97562BB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178FA09-03CD-F586-0DB1-8D5961FF7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8255" y="6175040"/>
            <a:ext cx="1442594" cy="3339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489B313-F09E-ECF4-1A0B-192537A8AAD2}"/>
              </a:ext>
            </a:extLst>
          </p:cNvPr>
          <p:cNvSpPr txBox="1"/>
          <p:nvPr userDrawn="1"/>
        </p:nvSpPr>
        <p:spPr>
          <a:xfrm>
            <a:off x="5124767" y="6619889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/>
              <a:t>Privileged and Confidential</a:t>
            </a:r>
          </a:p>
        </p:txBody>
      </p:sp>
      <p:pic>
        <p:nvPicPr>
          <p:cNvPr id="1028" name="Picture 4" descr="FedEx Logo transparent PNG - StickPNG">
            <a:extLst>
              <a:ext uri="{FF2B5EF4-FFF2-40B4-BE49-F238E27FC236}">
                <a16:creationId xmlns:a16="http://schemas.microsoft.com/office/drawing/2014/main" id="{552E8BF7-B67A-29E7-1DCD-E39F033E045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4269307" y="6039892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56AC69C2-9C09-6717-9D2F-DA7DA4A5AB6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4" b="18045"/>
          <a:stretch/>
        </p:blipFill>
        <p:spPr bwMode="auto">
          <a:xfrm>
            <a:off x="1" y="-8854"/>
            <a:ext cx="12191999" cy="5697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1203192"/>
      </p:ext>
    </p:extLst>
  </p:cSld>
  <p:clrMapOvr>
    <a:masterClrMapping/>
  </p:clrMapOvr>
  <p:transition spd="med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Sky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4FA5D03-02A4-EA4A-094B-A8B636BEEA6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AE8E5E8-2C0F-35E1-4BBC-22A54E53D0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0840" y="746203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8CA8218-1F96-926F-0917-A1DA9EC3D62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20840" y="2605600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DA6A0B3-3F42-9922-BAAE-F792CABE6A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20840" y="4464997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0A54D0A-2CB9-C133-9718-79E6401358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0840" y="1246523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E7857C7-CFC6-7ADB-633F-1D3BDB556DC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20840" y="3105920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956A5C8-C1EE-D5F1-1FDE-C826F9C25E5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0840" y="4965316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596C5BB2-EAA0-1030-EEEE-5D28A08C67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09AC8211-966A-8BD9-DA4C-39DC7380AD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0394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Midnigh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E41C29C-6FEC-2B4F-8596-2BF88EE08B54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 dirty="0">
                <a:solidFill>
                  <a:schemeClr val="bg2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4  Cisco and/or its affiliates. All rights reserved.   Cisco Confidential</a:t>
            </a:r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293D168C-8A00-4D1A-279C-0D2E586D4D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185D6C4-923D-0A37-5765-F4FFA48FC1C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B3E190-93EE-235A-0F6B-07C04E09A1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0840" y="746203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18BC08B-D219-8756-C142-C4584D727A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20840" y="2605600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4803960-9A60-1EDC-E465-98985D436C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20840" y="4464997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F220C6C-65CC-3070-48A3-52BC6CD232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0840" y="1246523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95A9DA7-0C91-35C3-D416-9F030426344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20840" y="3105920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6DF162A-E518-4D2F-E1D4-46E7A06FEE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0840" y="4965316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.</a:t>
            </a:r>
          </a:p>
          <a:p>
            <a:pPr lvl="0"/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4DE6FCA-9477-3080-6D9A-BF19D9088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EA95E83-5C21-97F4-1503-23FF4926AD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296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7" y="431803"/>
            <a:ext cx="5405967" cy="5201356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786037" y="5893687"/>
            <a:ext cx="4745567" cy="36576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hoto caption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5D4FA6F-8B16-848A-2676-892437DBB5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7E02133-90CD-7A73-3378-09367C5F7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709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pos="4275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C94DA5F-CCF7-A048-8A5D-EE8276E901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3" y="431800"/>
            <a:ext cx="6096000" cy="6045200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5226FFA-E401-8D3F-A7A7-AC5403A29F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B83CA69-90DB-1977-3B75-3C078FC97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403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567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F1594EA-D397-6C41-A885-CC4BB73C61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4324904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B7F8C95-951F-9098-CC7F-F731FC33A0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333956"/>
            <a:ext cx="10972800" cy="1828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32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5C13F8A-9C96-BC4F-A27C-6AF68C9B9A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5992432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8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18924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39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7" y="431805"/>
            <a:ext cx="4796367" cy="5702297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BE4A1D4-402D-E43A-DA8F-9D86491438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16A48D0D-58D2-4F34-4F9C-0B14501499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436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567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11">
            <a:extLst>
              <a:ext uri="{FF2B5EF4-FFF2-40B4-BE49-F238E27FC236}">
                <a16:creationId xmlns:a16="http://schemas.microsoft.com/office/drawing/2014/main" id="{C83B223E-030E-74D0-B6FA-BEC3DA7BD3F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21103" y="1409701"/>
            <a:ext cx="10974395" cy="3932321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9B8D9E7-EAC8-4A5C-4139-BA396711F0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5" y="5586423"/>
            <a:ext cx="5463875" cy="36576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Table caption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051B1935-8F76-89F3-34A7-104AF19A7D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114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CE7DB6-039C-AC58-5C90-9B19A4AA26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5" y="5586423"/>
            <a:ext cx="5463875" cy="36576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 dirty="0"/>
              <a:t>Chart caption</a:t>
            </a:r>
          </a:p>
        </p:txBody>
      </p:sp>
      <p:sp>
        <p:nvSpPr>
          <p:cNvPr id="14" name="Chart Placeholder 2">
            <a:extLst>
              <a:ext uri="{FF2B5EF4-FFF2-40B4-BE49-F238E27FC236}">
                <a16:creationId xmlns:a16="http://schemas.microsoft.com/office/drawing/2014/main" id="{BD75F8AD-CDF4-CE28-1C24-08F6FA9598D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32125" y="1409701"/>
            <a:ext cx="10960608" cy="3937003"/>
          </a:xfrm>
          <a:prstGeom prst="rect">
            <a:avLst/>
          </a:prstGeom>
        </p:spPr>
        <p:txBody>
          <a:bodyPr vert="horz" lIns="45720" tIns="45720" rIns="45720" bIns="4572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4A57B70-3F6E-FA7F-CC44-293D6CF9E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591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Experiences">
    <p:bg>
      <p:bgPr>
        <a:gradFill>
          <a:gsLst>
            <a:gs pos="100000">
              <a:srgbClr val="4D148C"/>
            </a:gs>
            <a:gs pos="37000">
              <a:srgbClr val="FF6600"/>
            </a:gs>
            <a:gs pos="0">
              <a:srgbClr val="FF6600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CDA9FB54-B62C-9059-6370-513B10E35ED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9F69FD-980C-78AB-897F-669226AEB874}"/>
              </a:ext>
            </a:extLst>
          </p:cNvPr>
          <p:cNvGrpSpPr/>
          <p:nvPr userDrawn="1"/>
        </p:nvGrpSpPr>
        <p:grpSpPr>
          <a:xfrm>
            <a:off x="1843570" y="3231478"/>
            <a:ext cx="8504862" cy="1234197"/>
            <a:chOff x="3296248" y="6314100"/>
            <a:chExt cx="17011938" cy="2468394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A0732C55-6C1F-2C5D-5906-4B4294BC1FE3}"/>
                </a:ext>
              </a:extLst>
            </p:cNvPr>
            <p:cNvSpPr txBox="1">
              <a:spLocks/>
            </p:cNvSpPr>
            <p:nvPr/>
          </p:nvSpPr>
          <p:spPr>
            <a:xfrm>
              <a:off x="3296248" y="6314100"/>
              <a:ext cx="17011938" cy="24683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3F459E-8E82-9949-2E2A-48FAD87558AC}"/>
                </a:ext>
              </a:extLst>
            </p:cNvPr>
            <p:cNvSpPr/>
            <p:nvPr/>
          </p:nvSpPr>
          <p:spPr>
            <a:xfrm>
              <a:off x="5294574" y="6717392"/>
              <a:ext cx="13015281" cy="1672828"/>
            </a:xfrm>
            <a:prstGeom prst="rect">
              <a:avLst/>
            </a:prstGeom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ctr" defTabSz="412626">
                <a:defRPr/>
              </a:pP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 Black" panose="020B0604020202020204" pitchFamily="34" charset="0"/>
                  <a:sym typeface="Arial"/>
                </a:rPr>
                <a:t>experiences</a:t>
              </a: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 that </a:t>
              </a:r>
              <a:r>
                <a:rPr lang="en-US" sz="4400" b="1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matte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62BFF3-DC7B-6C07-E632-CF752B0B467E}"/>
              </a:ext>
            </a:extLst>
          </p:cNvPr>
          <p:cNvGrpSpPr/>
          <p:nvPr userDrawn="1"/>
        </p:nvGrpSpPr>
        <p:grpSpPr>
          <a:xfrm>
            <a:off x="1538952" y="2843346"/>
            <a:ext cx="2182673" cy="620278"/>
            <a:chOff x="2548425" y="5309101"/>
            <a:chExt cx="4365914" cy="1240556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FA9722BB-6E5F-5A02-D984-FCA4E32773DF}"/>
                </a:ext>
              </a:extLst>
            </p:cNvPr>
            <p:cNvSpPr txBox="1">
              <a:spLocks/>
            </p:cNvSpPr>
            <p:nvPr/>
          </p:nvSpPr>
          <p:spPr>
            <a:xfrm>
              <a:off x="2548425" y="5309101"/>
              <a:ext cx="4365914" cy="124055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71393D-2666-2764-F7D8-3F2080F9181C}"/>
                </a:ext>
              </a:extLst>
            </p:cNvPr>
            <p:cNvSpPr/>
            <p:nvPr/>
          </p:nvSpPr>
          <p:spPr>
            <a:xfrm>
              <a:off x="3247704" y="5565923"/>
              <a:ext cx="2967354" cy="86177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412626">
                <a:defRPr/>
              </a:pPr>
              <a:r>
                <a:rPr lang="en-US" sz="2200" b="0" i="0" kern="0">
                  <a:solidFill>
                    <a:srgbClr val="121212"/>
                  </a:solidFill>
                  <a:latin typeface="Montserrat" pitchFamily="2" charset="77"/>
                  <a:cs typeface="Arial" panose="020B0604020202020204" pitchFamily="34" charset="0"/>
                  <a:sym typeface="Arial"/>
                </a:rPr>
                <a:t>we make</a:t>
              </a:r>
            </a:p>
          </p:txBody>
        </p:sp>
      </p:grp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4DE4832-F469-563D-53EF-A57EB4EED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5138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6AD5A65-A7EB-424E-8ADF-62E6668815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038771" y="2921000"/>
            <a:ext cx="2114461" cy="87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287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6AD5A65-A7EB-424E-8ADF-62E6668815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038771" y="2921000"/>
            <a:ext cx="2114461" cy="87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45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6AD5A65-A7EB-424E-8ADF-62E6668815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038771" y="2921000"/>
            <a:ext cx="2114461" cy="87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09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bg1">
                    <a:lumMod val="75000"/>
                  </a:schemeClr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8141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Client Color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DD050250-4356-689B-2314-9317F0351A2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0DABF64-4136-BCC0-8272-C37E8D35FF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59367C9-A8F7-7122-D2D0-269CAF48C8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1462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55786F74-75DB-4774-C0C0-E6DAAEA71B1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45342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246838C4-F39C-51D0-B013-9965A2F66F7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15294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0561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FF6600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688963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0" y="5688964"/>
            <a:ext cx="12192000" cy="1169037"/>
          </a:xfrm>
          <a:prstGeom prst="rect">
            <a:avLst/>
          </a:prstGeom>
          <a:solidFill>
            <a:srgbClr val="FFFFFF"/>
          </a:solidFill>
          <a:ln w="98425">
            <a:noFill/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5898313" y="6046843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BCD88D3-776E-472A-2219-A8265AB7AD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2C3CC04-FF47-4CB5-B3C0-5E97562BB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178FA09-03CD-F586-0DB1-8D5961FF7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8255" y="6151890"/>
            <a:ext cx="1442594" cy="333933"/>
          </a:xfrm>
          <a:prstGeom prst="rect">
            <a:avLst/>
          </a:prstGeom>
        </p:spPr>
      </p:pic>
      <p:pic>
        <p:nvPicPr>
          <p:cNvPr id="3" name="Picture 4" descr="FedEx Logo transparent PNG - StickPNG">
            <a:extLst>
              <a:ext uri="{FF2B5EF4-FFF2-40B4-BE49-F238E27FC236}">
                <a16:creationId xmlns:a16="http://schemas.microsoft.com/office/drawing/2014/main" id="{0A44D176-D120-3A34-26AD-428056A7446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4269307" y="6039892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128672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2C9A8E-86E6-4B44-8DA8-63BFC31811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993178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62C9A8E-86E6-4B44-8DA8-63BFC31811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79" y="1567"/>
            <a:ext cx="12184841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3"/>
            <a:ext cx="10515600" cy="1500187"/>
          </a:xfrm>
        </p:spPr>
        <p:txBody>
          <a:bodyPr vert="horz" anchor="b">
            <a:noAutofit/>
          </a:bodyPr>
          <a:lstStyle>
            <a:lvl1pPr algn="ctr">
              <a:spcBef>
                <a:spcPts val="0"/>
              </a:spcBef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6"/>
            <a:ext cx="10515600" cy="130630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5" t="20608" r="8339" b="34816"/>
          <a:stretch/>
        </p:blipFill>
        <p:spPr>
          <a:xfrm>
            <a:off x="4949208" y="5156189"/>
            <a:ext cx="2293584" cy="50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0029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: Experiences">
    <p:bg>
      <p:bgPr>
        <a:gradFill>
          <a:gsLst>
            <a:gs pos="100000">
              <a:srgbClr val="4D148C"/>
            </a:gs>
            <a:gs pos="52000">
              <a:srgbClr val="FF6600"/>
            </a:gs>
            <a:gs pos="0">
              <a:srgbClr val="FF6600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67DA4C7-E533-BEB9-321E-55EC7149D2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6" y="0"/>
            <a:ext cx="12222566" cy="68580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9F69FD-980C-78AB-897F-669226AEB874}"/>
              </a:ext>
            </a:extLst>
          </p:cNvPr>
          <p:cNvGrpSpPr/>
          <p:nvPr userDrawn="1"/>
        </p:nvGrpSpPr>
        <p:grpSpPr>
          <a:xfrm>
            <a:off x="1843570" y="3231478"/>
            <a:ext cx="8504862" cy="1234197"/>
            <a:chOff x="3296248" y="6314100"/>
            <a:chExt cx="17011938" cy="2468394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A0732C55-6C1F-2C5D-5906-4B4294BC1FE3}"/>
                </a:ext>
              </a:extLst>
            </p:cNvPr>
            <p:cNvSpPr txBox="1">
              <a:spLocks/>
            </p:cNvSpPr>
            <p:nvPr/>
          </p:nvSpPr>
          <p:spPr>
            <a:xfrm>
              <a:off x="3296248" y="6314100"/>
              <a:ext cx="17011938" cy="24683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3F459E-8E82-9949-2E2A-48FAD87558AC}"/>
                </a:ext>
              </a:extLst>
            </p:cNvPr>
            <p:cNvSpPr/>
            <p:nvPr/>
          </p:nvSpPr>
          <p:spPr>
            <a:xfrm>
              <a:off x="5294574" y="6717392"/>
              <a:ext cx="13015281" cy="1672828"/>
            </a:xfrm>
            <a:prstGeom prst="rect">
              <a:avLst/>
            </a:prstGeom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ctr" defTabSz="412626">
                <a:defRPr/>
              </a:pP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 Black" panose="020B0604020202020204" pitchFamily="34" charset="0"/>
                  <a:sym typeface="Arial"/>
                </a:rPr>
                <a:t>experiences</a:t>
              </a: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 that </a:t>
              </a:r>
              <a:r>
                <a:rPr lang="en-US" sz="4400" b="1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matte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62BFF3-DC7B-6C07-E632-CF752B0B467E}"/>
              </a:ext>
            </a:extLst>
          </p:cNvPr>
          <p:cNvGrpSpPr/>
          <p:nvPr userDrawn="1"/>
        </p:nvGrpSpPr>
        <p:grpSpPr>
          <a:xfrm>
            <a:off x="1538952" y="2843346"/>
            <a:ext cx="2182673" cy="620278"/>
            <a:chOff x="2548425" y="5309101"/>
            <a:chExt cx="4365914" cy="1240556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FA9722BB-6E5F-5A02-D984-FCA4E32773DF}"/>
                </a:ext>
              </a:extLst>
            </p:cNvPr>
            <p:cNvSpPr txBox="1">
              <a:spLocks/>
            </p:cNvSpPr>
            <p:nvPr/>
          </p:nvSpPr>
          <p:spPr>
            <a:xfrm>
              <a:off x="2548425" y="5309101"/>
              <a:ext cx="4365914" cy="124055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71393D-2666-2764-F7D8-3F2080F9181C}"/>
                </a:ext>
              </a:extLst>
            </p:cNvPr>
            <p:cNvSpPr/>
            <p:nvPr/>
          </p:nvSpPr>
          <p:spPr>
            <a:xfrm>
              <a:off x="3247704" y="5565923"/>
              <a:ext cx="2967354" cy="86177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412626">
                <a:defRPr/>
              </a:pPr>
              <a:r>
                <a:rPr lang="en-US" sz="2200" b="0" i="0" kern="0">
                  <a:solidFill>
                    <a:srgbClr val="121212"/>
                  </a:solidFill>
                  <a:latin typeface="Montserrat" pitchFamily="2" charset="77"/>
                  <a:cs typeface="Arial" panose="020B0604020202020204" pitchFamily="34" charset="0"/>
                  <a:sym typeface="Arial"/>
                </a:rPr>
                <a:t>we make</a:t>
              </a:r>
            </a:p>
          </p:txBody>
        </p:sp>
      </p:grp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4DE4832-F469-563D-53EF-A57EB4EED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2379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4AFB12-161B-3BB9-3858-7A0D9CAFB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343"/>
            <a:ext cx="12192000" cy="6858000"/>
          </a:xfrm>
          <a:prstGeom prst="rect">
            <a:avLst/>
          </a:prstGeom>
        </p:spPr>
      </p:pic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498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List 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EBC387FA-30CE-BDD8-680C-4C980FEA9E5C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047CEF-9DFE-9657-725E-BEDF2BE84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63321A3-8E3C-4944-B4E6-70D4CE9FD2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3249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172831-0F03-D14D-A9A8-DFFD8640E6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249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795939C-3A5F-2C4B-9CC2-B1390D339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249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AAD867B-64EE-F14A-A93C-1062E49B16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249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E9027DA-DF10-6646-8749-6A38B5BA70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3249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0259EF6-80A9-F64A-9BF6-65321D108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49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BB9907-E330-704E-8BB2-C8C14D2E22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3249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7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A1212DD-6A43-AC45-B219-95C01E21AA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49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8.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B13C6B77-2E88-D96A-D91B-4A2DC16181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538576" y="1931205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FA60DAD7-8E0F-D013-ABB1-1B709B784E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538576" y="2442083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CF8F9177-5A8B-EFE5-B981-3C05DDF9CD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538576" y="2967367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E24650AC-7198-8A38-2314-18E50D00C31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538576" y="3480936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7E8247CA-AD91-E8F3-12B9-E2F6F6D09F7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38576" y="4000363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C0F90C87-48C5-BD13-4F85-7A19BF749B8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538576" y="4519789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E3CF342B-849A-D07C-A349-24DCD5F68D9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538576" y="5039216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8" name="Content Placeholder 8">
            <a:extLst>
              <a:ext uri="{FF2B5EF4-FFF2-40B4-BE49-F238E27FC236}">
                <a16:creationId xmlns:a16="http://schemas.microsoft.com/office/drawing/2014/main" id="{FD1B2A4E-270E-BE06-08C7-F07E702A3E39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38576" y="5558641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D34B9810-81E3-A96C-BF76-20F1F364FD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51E9A3C-6A11-6F2D-DA4E-53529DE669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98A7F99-76A1-1164-E960-C3236D1B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593C07D-AD29-EB78-DA1F-DAFB7090AD3D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56538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List 2'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">
            <a:extLst>
              <a:ext uri="{FF2B5EF4-FFF2-40B4-BE49-F238E27FC236}">
                <a16:creationId xmlns:a16="http://schemas.microsoft.com/office/drawing/2014/main" id="{DC435823-9F66-D842-0BAE-ABCDAD7E1AE0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047CEF-9DFE-9657-725E-BEDF2BE84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63321A3-8E3C-4944-B4E6-70D4CE9FD2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3249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172831-0F03-D14D-A9A8-DFFD8640E6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249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795939C-3A5F-2C4B-9CC2-B1390D339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249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AAD867B-64EE-F14A-A93C-1062E49B16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249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E9027DA-DF10-6646-8749-6A38B5BA70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3249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0259EF6-80A9-F64A-9BF6-65321D108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49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BB9907-E330-704E-8BB2-C8C14D2E22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3249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7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A1212DD-6A43-AC45-B219-95C01E21AA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49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8.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B13C6B77-2E88-D96A-D91B-4A2DC16181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538576" y="1931205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FA60DAD7-8E0F-D013-ABB1-1B709B784E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538576" y="244208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CF8F9177-5A8B-EFE5-B981-3C05DDF9CD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538576" y="2967367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E24650AC-7198-8A38-2314-18E50D00C31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538576" y="348093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7E8247CA-AD91-E8F3-12B9-E2F6F6D09F7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38576" y="400036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C0F90C87-48C5-BD13-4F85-7A19BF749B8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538576" y="4519789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E3CF342B-849A-D07C-A349-24DCD5F68D9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538576" y="503921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8" name="Content Placeholder 8">
            <a:extLst>
              <a:ext uri="{FF2B5EF4-FFF2-40B4-BE49-F238E27FC236}">
                <a16:creationId xmlns:a16="http://schemas.microsoft.com/office/drawing/2014/main" id="{FD1B2A4E-270E-BE06-08C7-F07E702A3E39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38576" y="5558641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D34B9810-81E3-A96C-BF76-20F1F364FD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51E9A3C-6A11-6F2D-DA4E-53529DE669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E22E486-2AC7-A01B-9073-68A6400400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63148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.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7482399-7D2A-5502-D4FD-58EBB09260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63148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0.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C634FEA-8422-BE60-1990-65929BD80E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63148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1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016C576-B349-78DF-CC1D-A09D9F6A4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63148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2.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35C2A8C-1C27-FBD2-A6DF-19262D1CF0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63148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3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8654C63-BEBE-7B81-DED4-2312913362F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63148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4.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9EE34A7-C4E1-7550-82F7-7D2E08D7ED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63148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B82F3E5B-0DCA-F163-6606-6CCF6DC7C80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63148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6.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06C3410F-A1BF-AC9F-7353-58CFC079B9E4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6586583" y="1928045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4B76E5A5-DD4C-6C22-F3C5-C9B719630EEF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586583" y="243892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9685772B-5A95-75C5-17D6-8C50C2B114B8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6586583" y="2964207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0421F306-5253-A98B-9765-F2082AFE459E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586583" y="347777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74D12D39-2FB9-380B-725F-57FD1D9F2A88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6586583" y="399720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C5F0A0C9-A019-3DE1-06E0-6A2B10BA124D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586583" y="4516629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7" name="Content Placeholder 8">
            <a:extLst>
              <a:ext uri="{FF2B5EF4-FFF2-40B4-BE49-F238E27FC236}">
                <a16:creationId xmlns:a16="http://schemas.microsoft.com/office/drawing/2014/main" id="{0F43FAA9-72E8-0E1E-58AA-2F32DA60049D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586583" y="503605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7493E234-36A9-F1E6-99FB-4A1C3F031FAE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6586583" y="5555481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pic>
        <p:nvPicPr>
          <p:cNvPr id="39" name="Picture 3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90FA659D-002F-EEAB-1D7C-DC58F1F910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1505F01-6899-5582-39AA-24671CB9CDA9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41154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Diagonal 1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052F8A25-C4DB-1A6C-4A5E-9F849E5C6876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5EA1FA9-14F5-DC4A-80F6-42F04114C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854EEF-47C8-6138-8AB8-E0CDC9333BE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8041E96-EE56-75CA-C1A2-196A766C91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2C57A-2D54-1D5F-6BDC-A2D89CF436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11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1BF4CFB-7386-6287-933F-A0E0908C4F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65C8C47-05E9-15E8-DA6C-A5B0D5B4953A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6972128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Diagonal 2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B2A4E7FB-0601-F379-7BE4-F93FDA779710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EFCA042-409C-054F-9373-605461D59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D0E1185D-7D71-D84D-8180-55DC417FF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326265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C82DAED8-6370-1944-9638-AED4C0B68BD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4BC5CBA-6166-66E7-D824-15AF7B4DE0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7911" y="1920240"/>
            <a:ext cx="10257693" cy="4114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23736EC4-7043-E0FD-64ED-EF16517EEE1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7FDA0D8-CCA9-6D3E-7658-1998681D00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874D629-32E5-6A6A-AB96-E915ADCB23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236E8C4-A7AB-744E-841F-106BD56275DF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17021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Title 1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69120F4-95C0-EF4C-A098-8CE2B2365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8282" t="6242" b="6109"/>
          <a:stretch/>
        </p:blipFill>
        <p:spPr>
          <a:xfrm>
            <a:off x="2" y="0"/>
            <a:ext cx="5893904" cy="685800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73FEFE-643C-D5D9-0611-7A84DC0F4B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46403" y="1873063"/>
            <a:ext cx="4910932" cy="384016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 i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bg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bg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bg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0BABCDA3-A8A8-992C-5200-AE778E5BF74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3684" y="3212488"/>
            <a:ext cx="505091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515D76-849B-0E83-E97A-439A9D49A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049" y="3504157"/>
            <a:ext cx="505091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5" name="Picture 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A0209EA-F184-4390-DE80-93E1E81EC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469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4 Boxes 2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">
            <a:extLst>
              <a:ext uri="{FF2B5EF4-FFF2-40B4-BE49-F238E27FC236}">
                <a16:creationId xmlns:a16="http://schemas.microsoft.com/office/drawing/2014/main" id="{87346632-9B0C-9E2A-9CCB-8FBEA511909C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4A201B7-71F3-ACE6-B5CA-145FC5B0F2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71A96EF-15B7-43BA-3DA1-4B71369BE79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5347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0399910-3B64-85C5-7963-DA167CFA5FF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8026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42F139D7-683F-3963-E075-41B0AC5500D8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70705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5172D203-EE19-285C-E286-A6C6F5D2A35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3383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7" name="Circle">
            <a:extLst>
              <a:ext uri="{FF2B5EF4-FFF2-40B4-BE49-F238E27FC236}">
                <a16:creationId xmlns:a16="http://schemas.microsoft.com/office/drawing/2014/main" id="{2DC1B171-D16F-407B-2A98-66CB5BDD436C}"/>
              </a:ext>
            </a:extLst>
          </p:cNvPr>
          <p:cNvSpPr>
            <a:spLocks noChangeAspect="1"/>
          </p:cNvSpPr>
          <p:nvPr/>
        </p:nvSpPr>
        <p:spPr>
          <a:xfrm>
            <a:off x="2332403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574E06F8-53CB-6240-371C-4315223CDCE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FF860DB-E5D8-6E7A-562F-6CBFFE7029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7B47402-068D-ECE4-C50E-D5420AE001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16787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0EB9C63-5FE8-A403-FC29-C8D63FA6C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16787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8" name="Circle">
            <a:extLst>
              <a:ext uri="{FF2B5EF4-FFF2-40B4-BE49-F238E27FC236}">
                <a16:creationId xmlns:a16="http://schemas.microsoft.com/office/drawing/2014/main" id="{70A083EC-2A84-8124-33A8-D29F51EF5103}"/>
              </a:ext>
            </a:extLst>
          </p:cNvPr>
          <p:cNvSpPr>
            <a:spLocks noChangeAspect="1"/>
          </p:cNvSpPr>
          <p:nvPr userDrawn="1"/>
        </p:nvSpPr>
        <p:spPr>
          <a:xfrm>
            <a:off x="4505082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AE66A09-C909-CD8B-1A91-5B89B889C4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89466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8072FEE-7CEB-F587-09C4-2B51A1E037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89466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1" name="Circle">
            <a:extLst>
              <a:ext uri="{FF2B5EF4-FFF2-40B4-BE49-F238E27FC236}">
                <a16:creationId xmlns:a16="http://schemas.microsoft.com/office/drawing/2014/main" id="{EC3FFFFB-1D3C-9D78-C18B-85A4377B25AF}"/>
              </a:ext>
            </a:extLst>
          </p:cNvPr>
          <p:cNvSpPr>
            <a:spLocks noChangeAspect="1"/>
          </p:cNvSpPr>
          <p:nvPr userDrawn="1"/>
        </p:nvSpPr>
        <p:spPr>
          <a:xfrm>
            <a:off x="6677761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E9C156C-7D7B-5F88-6DFB-19C7DC831A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2145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B9CAAB5-311A-8678-8D44-923560BC0A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2145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4" name="Circle">
            <a:extLst>
              <a:ext uri="{FF2B5EF4-FFF2-40B4-BE49-F238E27FC236}">
                <a16:creationId xmlns:a16="http://schemas.microsoft.com/office/drawing/2014/main" id="{E86D7D4F-24C1-EE75-1596-320113832EB3}"/>
              </a:ext>
            </a:extLst>
          </p:cNvPr>
          <p:cNvSpPr>
            <a:spLocks noChangeAspect="1"/>
          </p:cNvSpPr>
          <p:nvPr userDrawn="1"/>
        </p:nvSpPr>
        <p:spPr>
          <a:xfrm>
            <a:off x="8850439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8758A10-5F84-8196-1304-BCE909A370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34823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AD2BB4B-AD0A-9B2F-DB07-134DFFFD4A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4823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D76AA7-A0A2-9101-E893-AF614DF63F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79EFDF0C-FD4E-C075-42B0-C3E86577BCA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7B92E03-D35B-3FEE-DB5D-77B566E9838B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29905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3 Boxes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>
            <a:extLst>
              <a:ext uri="{FF2B5EF4-FFF2-40B4-BE49-F238E27FC236}">
                <a16:creationId xmlns:a16="http://schemas.microsoft.com/office/drawing/2014/main" id="{024741D9-5C9A-58DD-5A1E-B83E43CF1FF9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8DC497E-27FC-3B4D-8C45-BEC44C11A9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2A4B1E20-B850-5349-8A8B-F02BDE4367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225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29" name="Circle">
            <a:extLst>
              <a:ext uri="{FF2B5EF4-FFF2-40B4-BE49-F238E27FC236}">
                <a16:creationId xmlns:a16="http://schemas.microsoft.com/office/drawing/2014/main" id="{AA72FE13-8CF2-969F-9BE1-A6CEFE6102F7}"/>
              </a:ext>
            </a:extLst>
          </p:cNvPr>
          <p:cNvSpPr>
            <a:spLocks noChangeAspect="1"/>
          </p:cNvSpPr>
          <p:nvPr userDrawn="1"/>
        </p:nvSpPr>
        <p:spPr>
          <a:xfrm>
            <a:off x="1581952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C2E9F07C-3F28-DE6F-ACE8-8466F5E6032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C7A4C4D-A30D-EFB3-E543-29E719D3E7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246FDF-957F-034C-F793-5092D6B27E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344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2B3EBBF-AEDF-F08E-9344-A966E2C995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344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7B73EB-F1A9-92CA-246C-635FBABC6B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44313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8" name="Circle">
            <a:extLst>
              <a:ext uri="{FF2B5EF4-FFF2-40B4-BE49-F238E27FC236}">
                <a16:creationId xmlns:a16="http://schemas.microsoft.com/office/drawing/2014/main" id="{D05E42C8-C3F2-007A-D294-7F7A0FD8359A}"/>
              </a:ext>
            </a:extLst>
          </p:cNvPr>
          <p:cNvSpPr>
            <a:spLocks noChangeAspect="1"/>
          </p:cNvSpPr>
          <p:nvPr userDrawn="1"/>
        </p:nvSpPr>
        <p:spPr>
          <a:xfrm>
            <a:off x="5643040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ADCAEE-0C5B-D62D-8C4F-BBD4AD8058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1432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5CF1FCC-7581-A28B-FD36-61E528C0DC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432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CDD3159-F79E-C84C-272E-385C6401D6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33770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2" name="Circle">
            <a:extLst>
              <a:ext uri="{FF2B5EF4-FFF2-40B4-BE49-F238E27FC236}">
                <a16:creationId xmlns:a16="http://schemas.microsoft.com/office/drawing/2014/main" id="{F822C310-D2E0-AC01-16B8-3844BED7D16A}"/>
              </a:ext>
            </a:extLst>
          </p:cNvPr>
          <p:cNvSpPr>
            <a:spLocks noChangeAspect="1"/>
          </p:cNvSpPr>
          <p:nvPr userDrawn="1"/>
        </p:nvSpPr>
        <p:spPr>
          <a:xfrm>
            <a:off x="9732497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3C0DEA-F85C-79A7-B315-F12309042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30889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EB7C277-F3EF-BC3B-A099-CEF9A67B5E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30889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C5840E0-A33E-1470-FF2A-5E6D42210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75012BEF-FF9D-7A50-7994-E795BD500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D2E8613-84F8-FE3C-276B-0D0A8E90FD84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6043628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Basic +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356" y="1541937"/>
            <a:ext cx="11247120" cy="4635027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1228B109-0617-9CAF-9F0C-DE44CF8B948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72356" y="424062"/>
            <a:ext cx="1124712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FC0273D-8CDB-5EE3-34F3-400BA04F15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2440" y="709007"/>
            <a:ext cx="1124712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E5C926-D204-652B-63A6-119ED4D687A0}"/>
              </a:ext>
            </a:extLst>
          </p:cNvPr>
          <p:cNvSpPr/>
          <p:nvPr userDrawn="1"/>
        </p:nvSpPr>
        <p:spPr>
          <a:xfrm>
            <a:off x="-3048" y="6812280"/>
            <a:ext cx="12198096" cy="45720"/>
          </a:xfrm>
          <a:prstGeom prst="rect">
            <a:avLst/>
          </a:prstGeom>
          <a:gradFill>
            <a:gsLst>
              <a:gs pos="0">
                <a:srgbClr val="FF6600"/>
              </a:gs>
              <a:gs pos="55000">
                <a:srgbClr val="FF6600"/>
              </a:gs>
              <a:gs pos="100000">
                <a:srgbClr val="4D148C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2B6D4F1-CE3B-B6EB-FBD9-ED0CA8B3A8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181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B80307-DA79-8543-9751-0DDD807630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4292386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B80307-DA79-8543-9751-0DDD807630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79" y="1567"/>
            <a:ext cx="12184841" cy="685486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598073"/>
            <a:ext cx="10515600" cy="1500187"/>
          </a:xfrm>
        </p:spPr>
        <p:txBody>
          <a:bodyPr vert="horz" anchor="b">
            <a:noAutofit/>
          </a:bodyPr>
          <a:lstStyle>
            <a:lvl1pPr algn="ctr">
              <a:spcBef>
                <a:spcPts val="0"/>
              </a:spcBef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319126"/>
            <a:ext cx="10515600" cy="1741972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4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5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6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8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62138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gradien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67A3BE-0E97-1F52-F590-BA156EF521C1}"/>
              </a:ext>
            </a:extLst>
          </p:cNvPr>
          <p:cNvSpPr/>
          <p:nvPr userDrawn="1"/>
        </p:nvSpPr>
        <p:spPr>
          <a:xfrm>
            <a:off x="-3048" y="6812280"/>
            <a:ext cx="12198096" cy="45720"/>
          </a:xfrm>
          <a:prstGeom prst="rect">
            <a:avLst/>
          </a:prstGeom>
          <a:gradFill>
            <a:gsLst>
              <a:gs pos="0">
                <a:srgbClr val="FF6600"/>
              </a:gs>
              <a:gs pos="55000">
                <a:srgbClr val="FF6600"/>
              </a:gs>
              <a:gs pos="100000">
                <a:srgbClr val="4D148C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44FA78D-3F65-1513-7598-5D5B6FD49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505572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lides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85B9AA4-5D54-5060-6891-64FDEBA267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5190" y="418646"/>
            <a:ext cx="10968992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944513-A08F-3E36-2310-CBA831AC27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5425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FF6600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5" y="0"/>
            <a:ext cx="12222566" cy="6858000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-30565" y="5688963"/>
            <a:ext cx="12253132" cy="120708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9200671" y="6138532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sz="2300" b="1" kern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1AC1FBD-7600-4102-2C13-49BD1630C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67208" y="1233377"/>
            <a:ext cx="5630917" cy="4641306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4DEE6-9427-C2D9-469E-F78CBE8BFB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97024" y="2340278"/>
            <a:ext cx="4971279" cy="2232837"/>
          </a:xfrm>
        </p:spPr>
        <p:txBody>
          <a:bodyPr anchor="t">
            <a:noAutofit/>
          </a:bodyPr>
          <a:lstStyle>
            <a:lvl1pPr marL="0" indent="0">
              <a:lnSpc>
                <a:spcPct val="150000"/>
              </a:lnSpc>
              <a:buNone/>
              <a:defRPr sz="1150" b="0" i="0">
                <a:latin typeface="Montserrat" pitchFamily="2" charset="77"/>
              </a:defRPr>
            </a:lvl1pPr>
            <a:lvl2pPr marL="457063" indent="0">
              <a:buNone/>
              <a:defRPr sz="1200"/>
            </a:lvl2pPr>
            <a:lvl3pPr marL="914126" indent="0">
              <a:buNone/>
              <a:defRPr sz="1200"/>
            </a:lvl3pPr>
            <a:lvl4pPr marL="1371189" indent="0">
              <a:buNone/>
              <a:defRPr sz="1200"/>
            </a:lvl4pPr>
            <a:lvl5pPr marL="1828251" indent="0">
              <a:buNone/>
              <a:defRPr sz="12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Sed non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mi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 sed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. </a:t>
            </a:r>
            <a:r>
              <a:rPr lang="en-US" err="1"/>
              <a:t>Interdum</a:t>
            </a:r>
            <a:r>
              <a:rPr lang="en-US"/>
              <a:t> et </a:t>
            </a:r>
            <a:r>
              <a:rPr lang="en-US" err="1"/>
              <a:t>malesuada</a:t>
            </a:r>
            <a:r>
              <a:rPr lang="en-US"/>
              <a:t> fames ac ante ipsum </a:t>
            </a:r>
            <a:r>
              <a:rPr lang="en-US" err="1"/>
              <a:t>primis</a:t>
            </a:r>
            <a:r>
              <a:rPr lang="en-US"/>
              <a:t> in </a:t>
            </a:r>
            <a:r>
              <a:rPr lang="en-US" err="1"/>
              <a:t>faucibus</a:t>
            </a:r>
            <a:r>
              <a:rPr lang="en-US"/>
              <a:t>. Integer </a:t>
            </a:r>
            <a:r>
              <a:rPr lang="en-US" err="1"/>
              <a:t>finibus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non </a:t>
            </a:r>
            <a:r>
              <a:rPr lang="en-US" err="1"/>
              <a:t>tempor</a:t>
            </a:r>
            <a:r>
              <a:rPr lang="en-US"/>
              <a:t> libero semper </a:t>
            </a:r>
            <a:r>
              <a:rPr lang="en-US" err="1"/>
              <a:t>quis</a:t>
            </a:r>
            <a:r>
              <a:rPr lang="en-US"/>
              <a:t>. Duis </a:t>
            </a:r>
            <a:r>
              <a:rPr lang="en-US" err="1"/>
              <a:t>aliquet</a:t>
            </a:r>
            <a:r>
              <a:rPr lang="en-US"/>
              <a:t> porta </a:t>
            </a:r>
            <a:r>
              <a:rPr lang="en-US" err="1"/>
              <a:t>arcu</a:t>
            </a:r>
            <a:r>
              <a:rPr lang="en-US"/>
              <a:t> vitae </a:t>
            </a:r>
            <a:r>
              <a:rPr lang="en-US" err="1"/>
              <a:t>ultrices</a:t>
            </a:r>
            <a:r>
              <a:rPr lang="en-US"/>
              <a:t>. Morbi ac </a:t>
            </a:r>
            <a:r>
              <a:rPr lang="en-US" err="1"/>
              <a:t>nibh</a:t>
            </a:r>
            <a:r>
              <a:rPr lang="en-US"/>
              <a:t> at dolor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lore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porta </a:t>
            </a:r>
            <a:r>
              <a:rPr lang="en-US" err="1"/>
              <a:t>dignissim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at </a:t>
            </a:r>
            <a:r>
              <a:rPr lang="en-US" err="1"/>
              <a:t>ultrice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, </a:t>
            </a:r>
            <a:r>
              <a:rPr lang="en-US" err="1"/>
              <a:t>lobortis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ffici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69B9BA-9232-F37E-6B5F-1C00CA0DCA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7024" y="1517155"/>
            <a:ext cx="4971279" cy="744538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4000" b="0" i="0" baseline="0"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457063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2pPr>
            <a:lvl3pPr marL="914126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3pPr>
            <a:lvl4pPr marL="1371189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4pPr>
            <a:lvl5pPr marL="1828251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5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3305BEC-5223-D05D-691A-417813C99C1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97024" y="4777233"/>
            <a:ext cx="4971279" cy="525802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000" b="0" i="0">
                <a:solidFill>
                  <a:schemeClr val="bg2"/>
                </a:solidFill>
                <a:latin typeface="Montserrat" pitchFamily="2" charset="77"/>
              </a:defRPr>
            </a:lvl1pPr>
            <a:lvl2pPr marL="457063" indent="0" algn="l">
              <a:buNone/>
              <a:defRPr b="1" i="0">
                <a:latin typeface="Montserrat" pitchFamily="2" charset="77"/>
              </a:defRPr>
            </a:lvl2pPr>
            <a:lvl3pPr marL="914126" indent="0" algn="l">
              <a:buNone/>
              <a:defRPr b="1" i="0">
                <a:latin typeface="Montserrat" pitchFamily="2" charset="77"/>
              </a:defRPr>
            </a:lvl3pPr>
            <a:lvl4pPr marL="1371189" indent="0" algn="l">
              <a:buNone/>
              <a:defRPr b="1" i="0">
                <a:latin typeface="Montserrat" pitchFamily="2" charset="77"/>
              </a:defRPr>
            </a:lvl4pPr>
            <a:lvl5pPr marL="1828251" indent="0" algn="l">
              <a:buNone/>
              <a:defRPr b="1" i="0">
                <a:latin typeface="Montserrat" pitchFamily="2" charset="77"/>
              </a:defRPr>
            </a:lvl5pPr>
          </a:lstStyle>
          <a:p>
            <a:pPr lvl="0"/>
            <a:r>
              <a:rPr lang="en-US"/>
              <a:t>Sincerely, </a:t>
            </a:r>
          </a:p>
          <a:p>
            <a:pPr lvl="0"/>
            <a:r>
              <a:rPr lang="en-US"/>
              <a:t>Insert Nam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6DD2246-0427-A918-99CF-17F8564CC23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3032" y="1216014"/>
            <a:ext cx="4110578" cy="4114800"/>
          </a:xfrm>
          <a:prstGeom prst="ellipse">
            <a:avLst/>
          </a:prstGeom>
          <a:ln w="53975">
            <a:solidFill>
              <a:srgbClr val="FFFFFF"/>
            </a:solidFill>
          </a:ln>
          <a:effectLst>
            <a:outerShdw blurRad="25904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2" name="Picture 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5B9B574-8DAB-1C45-B356-4825F21E88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09416" y="6246234"/>
            <a:ext cx="1491687" cy="345297"/>
          </a:xfrm>
          <a:prstGeom prst="rect">
            <a:avLst/>
          </a:prstGeom>
        </p:spPr>
      </p:pic>
      <p:pic>
        <p:nvPicPr>
          <p:cNvPr id="3" name="Picture 4" descr="FedEx Logo transparent PNG - StickPNG">
            <a:extLst>
              <a:ext uri="{FF2B5EF4-FFF2-40B4-BE49-F238E27FC236}">
                <a16:creationId xmlns:a16="http://schemas.microsoft.com/office/drawing/2014/main" id="{D1E7624A-4994-4E16-E54B-E3948415138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7672862" y="6149416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5723468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Confidential Client No Logo WWTD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7BDC91-127F-AB7F-8CFD-03E679E009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59709" y="1"/>
            <a:ext cx="5532291" cy="6297793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2" name="Rounded Rectangle">
            <a:extLst>
              <a:ext uri="{FF2B5EF4-FFF2-40B4-BE49-F238E27FC236}">
                <a16:creationId xmlns:a16="http://schemas.microsoft.com/office/drawing/2014/main" id="{846FFAFF-7C7B-1906-A0F6-88E3F305DE24}"/>
              </a:ext>
            </a:extLst>
          </p:cNvPr>
          <p:cNvSpPr/>
          <p:nvPr userDrawn="1"/>
        </p:nvSpPr>
        <p:spPr>
          <a:xfrm>
            <a:off x="380700" y="-499471"/>
            <a:ext cx="1561340" cy="1642131"/>
          </a:xfrm>
          <a:prstGeom prst="roundRect">
            <a:avLst>
              <a:gd name="adj" fmla="val 12420"/>
            </a:avLst>
          </a:prstGeom>
          <a:solidFill>
            <a:srgbClr val="FFFFFF"/>
          </a:solidFill>
          <a:ln w="12700">
            <a:miter lim="400000"/>
          </a:ln>
          <a:effectLst>
            <a:outerShdw blurRad="609600" dist="64868" dir="5400000" rotWithShape="0">
              <a:srgbClr val="000000">
                <a:alpha val="15102"/>
              </a:srgbClr>
            </a:outerShdw>
          </a:effectLst>
        </p:spPr>
        <p:txBody>
          <a:bodyPr lIns="0" tIns="0" rIns="0" bIns="0" anchor="ctr"/>
          <a:lstStyle/>
          <a:p>
            <a:pPr>
              <a:lnSpc>
                <a:spcPts val="1400"/>
              </a:lnSpc>
              <a:defRPr sz="1200" b="0">
                <a:solidFill>
                  <a:srgbClr val="0000EE"/>
                </a:solidFill>
                <a:latin typeface="Times"/>
                <a:ea typeface="Times"/>
                <a:cs typeface="Times"/>
                <a:sym typeface="Times"/>
              </a:defRPr>
            </a:pPr>
            <a:endParaRPr sz="600" b="0" i="0">
              <a:latin typeface="Montserrat" pitchFamily="2" charset="77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DC1B32-9892-725C-A7F3-62C3F65175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701" y="1484992"/>
            <a:ext cx="5934432" cy="1201737"/>
          </a:xfrm>
        </p:spPr>
        <p:txBody>
          <a:bodyPr/>
          <a:lstStyle>
            <a:lvl1pPr marL="0" indent="0">
              <a:buNone/>
              <a:defRPr sz="36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tatement Headline Goes He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DFA748-688F-EDCD-D7DE-AB2E1B0294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701" y="2841048"/>
            <a:ext cx="5934432" cy="119062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400" b="0" i="0"/>
            </a:lvl1pPr>
            <a:lvl2pPr marL="457063" indent="0">
              <a:buNone/>
              <a:defRPr sz="1100"/>
            </a:lvl2pPr>
            <a:lvl3pPr marL="914126" indent="0">
              <a:buNone/>
              <a:defRPr sz="1100"/>
            </a:lvl3pPr>
            <a:lvl4pPr marL="1371189" indent="0">
              <a:buNone/>
              <a:defRPr sz="1100"/>
            </a:lvl4pPr>
            <a:lvl5pPr marL="1828252" indent="0">
              <a:buNone/>
              <a:defRPr sz="11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Proin mi mi, </a:t>
            </a:r>
            <a:r>
              <a:rPr lang="en-US" err="1"/>
              <a:t>tincidunt</a:t>
            </a:r>
            <a:r>
              <a:rPr lang="en-US"/>
              <a:t> vitae </a:t>
            </a:r>
            <a:r>
              <a:rPr lang="en-US" err="1"/>
              <a:t>sollicitudin</a:t>
            </a:r>
            <a:r>
              <a:rPr lang="en-US"/>
              <a:t> at, cursus sed </a:t>
            </a:r>
            <a:r>
              <a:rPr lang="en-US" err="1"/>
              <a:t>puru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vel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,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A56179-45BD-6E0A-0EB6-C80AE5C75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99" y="4529934"/>
            <a:ext cx="5934033" cy="1101046"/>
          </a:xfrm>
        </p:spPr>
        <p:txBody>
          <a:bodyPr/>
          <a:lstStyle>
            <a:lvl1pPr>
              <a:defRPr sz="900" b="0" i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FF74EE3-A4D4-73D6-E835-E75E790455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700" y="4118658"/>
            <a:ext cx="5916171" cy="346075"/>
          </a:xfrm>
        </p:spPr>
        <p:txBody>
          <a:bodyPr/>
          <a:lstStyle>
            <a:lvl1pPr marL="0" indent="0">
              <a:buNone/>
              <a:defRPr sz="1600" b="1" i="0" spc="0"/>
            </a:lvl1pPr>
          </a:lstStyle>
          <a:p>
            <a:pPr lvl="0"/>
            <a:r>
              <a:rPr lang="en-US"/>
              <a:t>What We Di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9858CC-DC9A-3F87-0881-1E90669E26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1309" y="282575"/>
            <a:ext cx="1305265" cy="725488"/>
          </a:xfrm>
        </p:spPr>
        <p:txBody>
          <a:bodyPr anchor="ctr"/>
          <a:lstStyle>
            <a:lvl1pPr marL="0" indent="0" algn="ctr">
              <a:buNone/>
              <a:defRPr sz="800" b="0" i="0" spc="3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063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Text Case Study Nam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B9245E3-AF57-61D2-690D-8457B6CB4C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797635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">
    <p:bg>
      <p:bgPr>
        <a:gradFill>
          <a:gsLst>
            <a:gs pos="0">
              <a:schemeClr val="accent1"/>
            </a:gs>
            <a:gs pos="48000">
              <a:schemeClr val="accent2"/>
            </a:gs>
            <a:gs pos="99000">
              <a:schemeClr val="bg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56EB70-579B-002F-D996-4D93BE28F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145565B-33BF-0CCC-7BFE-310AC8FEDE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321571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81192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340695"/>
            <a:ext cx="5157787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91" indent="0">
              <a:buNone/>
              <a:defRPr sz="2000" b="1"/>
            </a:lvl2pPr>
            <a:lvl3pPr marL="914180" indent="0">
              <a:buNone/>
              <a:defRPr sz="1800" b="1"/>
            </a:lvl3pPr>
            <a:lvl4pPr marL="1371271" indent="0">
              <a:buNone/>
              <a:defRPr sz="1600" b="1"/>
            </a:lvl4pPr>
            <a:lvl5pPr marL="1828361" indent="0">
              <a:buNone/>
              <a:defRPr sz="1600" b="1"/>
            </a:lvl5pPr>
            <a:lvl6pPr marL="2285452" indent="0">
              <a:buNone/>
              <a:defRPr sz="1600" b="1"/>
            </a:lvl6pPr>
            <a:lvl7pPr marL="2742541" indent="0">
              <a:buNone/>
              <a:defRPr sz="1600" b="1"/>
            </a:lvl7pPr>
            <a:lvl8pPr marL="3199632" indent="0">
              <a:buNone/>
              <a:defRPr sz="1600" b="1"/>
            </a:lvl8pPr>
            <a:lvl9pPr marL="365672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316266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40695"/>
            <a:ext cx="5183188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91" indent="0">
              <a:buNone/>
              <a:defRPr sz="2000" b="1"/>
            </a:lvl2pPr>
            <a:lvl3pPr marL="914180" indent="0">
              <a:buNone/>
              <a:defRPr sz="1800" b="1"/>
            </a:lvl3pPr>
            <a:lvl4pPr marL="1371271" indent="0">
              <a:buNone/>
              <a:defRPr sz="1600" b="1"/>
            </a:lvl4pPr>
            <a:lvl5pPr marL="1828361" indent="0">
              <a:buNone/>
              <a:defRPr sz="1600" b="1"/>
            </a:lvl5pPr>
            <a:lvl6pPr marL="2285452" indent="0">
              <a:buNone/>
              <a:defRPr sz="1600" b="1"/>
            </a:lvl6pPr>
            <a:lvl7pPr marL="2742541" indent="0">
              <a:buNone/>
              <a:defRPr sz="1600" b="1"/>
            </a:lvl7pPr>
            <a:lvl8pPr marL="3199632" indent="0">
              <a:buNone/>
              <a:defRPr sz="1600" b="1"/>
            </a:lvl8pPr>
            <a:lvl9pPr marL="365672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16266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4146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>
            <a:fillRect/>
          </a:stretch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28989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4D148C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0" y="5688964"/>
            <a:ext cx="12192000" cy="1169037"/>
          </a:xfrm>
          <a:prstGeom prst="rect">
            <a:avLst/>
          </a:prstGeom>
          <a:solidFill>
            <a:srgbClr val="FFFFFF"/>
          </a:solidFill>
          <a:ln w="98425">
            <a:noFill/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r>
              <a:rPr lang="en-US" sz="1600" b="0" i="0" kern="0">
                <a:solidFill>
                  <a:srgbClr val="FFFFFF"/>
                </a:solidFill>
                <a:latin typeface="Montserrat" pitchFamily="2" charset="77"/>
                <a:cs typeface="Arial"/>
                <a:sym typeface="Helvetica Neue Medium"/>
              </a:rPr>
              <a:t>P</a:t>
            </a: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4634254" y="6039323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 dirty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 dirty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BCD88D3-776E-472A-2219-A8265AB7AD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2C3CC04-FF47-4CB5-B3C0-5E97562BB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178FA09-03CD-F586-0DB1-8D5961FF7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19709" y="6139754"/>
            <a:ext cx="1442594" cy="3339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489B313-F09E-ECF4-1A0B-192537A8AAD2}"/>
              </a:ext>
            </a:extLst>
          </p:cNvPr>
          <p:cNvSpPr txBox="1"/>
          <p:nvPr userDrawn="1"/>
        </p:nvSpPr>
        <p:spPr>
          <a:xfrm>
            <a:off x="5124767" y="6619889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/>
              <a:t>Privileged and Confidential</a:t>
            </a:r>
          </a:p>
        </p:txBody>
      </p:sp>
      <p:pic>
        <p:nvPicPr>
          <p:cNvPr id="1028" name="Picture 4" descr="FedEx Logo transparent PNG - StickPNG">
            <a:extLst>
              <a:ext uri="{FF2B5EF4-FFF2-40B4-BE49-F238E27FC236}">
                <a16:creationId xmlns:a16="http://schemas.microsoft.com/office/drawing/2014/main" id="{552E8BF7-B67A-29E7-1DCD-E39F033E045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5381105" y="6073132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56AC69C2-9C09-6717-9D2F-DA7DA4A5AB6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74" b="18045"/>
          <a:stretch/>
        </p:blipFill>
        <p:spPr bwMode="auto">
          <a:xfrm>
            <a:off x="1" y="-8854"/>
            <a:ext cx="12191999" cy="5697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+">
            <a:extLst>
              <a:ext uri="{FF2B5EF4-FFF2-40B4-BE49-F238E27FC236}">
                <a16:creationId xmlns:a16="http://schemas.microsoft.com/office/drawing/2014/main" id="{0EFA86CA-CAE5-A045-E3AB-D42ED2FBDD84}"/>
              </a:ext>
            </a:extLst>
          </p:cNvPr>
          <p:cNvSpPr txBox="1"/>
          <p:nvPr userDrawn="1"/>
        </p:nvSpPr>
        <p:spPr>
          <a:xfrm>
            <a:off x="6982583" y="6039322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 dirty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 dirty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6" name="Picture 4" descr="Networking, Cloud, and Cybersecurity Solutions - Cisco">
            <a:extLst>
              <a:ext uri="{FF2B5EF4-FFF2-40B4-BE49-F238E27FC236}">
                <a16:creationId xmlns:a16="http://schemas.microsoft.com/office/drawing/2014/main" id="{ADEFDFE6-963F-E92D-51E9-480DBEA4396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314" y="6032402"/>
            <a:ext cx="1036035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7133873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Experiences">
    <p:bg>
      <p:bgPr>
        <a:gradFill>
          <a:gsLst>
            <a:gs pos="100000">
              <a:srgbClr val="4D148C"/>
            </a:gs>
            <a:gs pos="37000">
              <a:srgbClr val="FF6600"/>
            </a:gs>
            <a:gs pos="0">
              <a:srgbClr val="FF6600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CDA9FB54-B62C-9059-6370-513B10E35ED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9F69FD-980C-78AB-897F-669226AEB874}"/>
              </a:ext>
            </a:extLst>
          </p:cNvPr>
          <p:cNvGrpSpPr/>
          <p:nvPr userDrawn="1"/>
        </p:nvGrpSpPr>
        <p:grpSpPr>
          <a:xfrm>
            <a:off x="1843570" y="3231478"/>
            <a:ext cx="8504862" cy="1234197"/>
            <a:chOff x="3296248" y="6314100"/>
            <a:chExt cx="17011938" cy="2468394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A0732C55-6C1F-2C5D-5906-4B4294BC1FE3}"/>
                </a:ext>
              </a:extLst>
            </p:cNvPr>
            <p:cNvSpPr txBox="1">
              <a:spLocks/>
            </p:cNvSpPr>
            <p:nvPr/>
          </p:nvSpPr>
          <p:spPr>
            <a:xfrm>
              <a:off x="3296248" y="6314100"/>
              <a:ext cx="17011938" cy="24683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3F459E-8E82-9949-2E2A-48FAD87558AC}"/>
                </a:ext>
              </a:extLst>
            </p:cNvPr>
            <p:cNvSpPr/>
            <p:nvPr/>
          </p:nvSpPr>
          <p:spPr>
            <a:xfrm>
              <a:off x="5294574" y="6717392"/>
              <a:ext cx="13015281" cy="1672828"/>
            </a:xfrm>
            <a:prstGeom prst="rect">
              <a:avLst/>
            </a:prstGeom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ctr" defTabSz="412626">
                <a:defRPr/>
              </a:pP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 Black" panose="020B0604020202020204" pitchFamily="34" charset="0"/>
                  <a:sym typeface="Arial"/>
                </a:rPr>
                <a:t>experiences</a:t>
              </a: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 that </a:t>
              </a:r>
              <a:r>
                <a:rPr lang="en-US" sz="4400" b="1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matte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62BFF3-DC7B-6C07-E632-CF752B0B467E}"/>
              </a:ext>
            </a:extLst>
          </p:cNvPr>
          <p:cNvGrpSpPr/>
          <p:nvPr userDrawn="1"/>
        </p:nvGrpSpPr>
        <p:grpSpPr>
          <a:xfrm>
            <a:off x="1538952" y="2843346"/>
            <a:ext cx="2182673" cy="620278"/>
            <a:chOff x="2548425" y="5309101"/>
            <a:chExt cx="4365914" cy="1240556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FA9722BB-6E5F-5A02-D984-FCA4E32773DF}"/>
                </a:ext>
              </a:extLst>
            </p:cNvPr>
            <p:cNvSpPr txBox="1">
              <a:spLocks/>
            </p:cNvSpPr>
            <p:nvPr/>
          </p:nvSpPr>
          <p:spPr>
            <a:xfrm>
              <a:off x="2548425" y="5309101"/>
              <a:ext cx="4365914" cy="124055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71393D-2666-2764-F7D8-3F2080F9181C}"/>
                </a:ext>
              </a:extLst>
            </p:cNvPr>
            <p:cNvSpPr/>
            <p:nvPr/>
          </p:nvSpPr>
          <p:spPr>
            <a:xfrm>
              <a:off x="3247704" y="5565923"/>
              <a:ext cx="2967354" cy="86177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412626">
                <a:defRPr/>
              </a:pPr>
              <a:r>
                <a:rPr lang="en-US" sz="2200" b="0" i="0" kern="0">
                  <a:solidFill>
                    <a:srgbClr val="121212"/>
                  </a:solidFill>
                  <a:latin typeface="Montserrat" pitchFamily="2" charset="77"/>
                  <a:cs typeface="Arial" panose="020B0604020202020204" pitchFamily="34" charset="0"/>
                  <a:sym typeface="Arial"/>
                </a:rPr>
                <a:t>we make</a:t>
              </a:r>
            </a:p>
          </p:txBody>
        </p:sp>
      </p:grp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4DE4832-F469-563D-53EF-A57EB4EED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4123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Client Color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DD050250-4356-689B-2314-9317F0351A2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F0DABF64-4136-BCC0-8272-C37E8D35FF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59367C9-A8F7-7122-D2D0-269CAF48C8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148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5850AC8-49AC-B641-BC3B-CAF5F82534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434329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5850AC8-49AC-B641-BC3B-CAF5F8253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597314" y="6406231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3269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55786F74-75DB-4774-C0C0-E6DAAEA71B1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5549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246838C4-F39C-51D0-B013-9965A2F66F7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7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4707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8463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FF6600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7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688963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0" y="5688964"/>
            <a:ext cx="12192000" cy="1169037"/>
          </a:xfrm>
          <a:prstGeom prst="rect">
            <a:avLst/>
          </a:prstGeom>
          <a:solidFill>
            <a:srgbClr val="FFFFFF"/>
          </a:solidFill>
          <a:ln w="98425">
            <a:noFill/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5898313" y="6046843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lang="en-US" sz="2300" b="1" kern="0" spc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endParaRPr sz="2300" b="1" kern="0" spc="0">
              <a:solidFill>
                <a:srgbClr val="333333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8BCD88D3-776E-472A-2219-A8265AB7AD2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2C3CC04-FF47-4CB5-B3C0-5E97562BB0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pic>
        <p:nvPicPr>
          <p:cNvPr id="15" name="Picture 1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178FA09-03CD-F586-0DB1-8D5961FF77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08255" y="6151890"/>
            <a:ext cx="1442594" cy="333933"/>
          </a:xfrm>
          <a:prstGeom prst="rect">
            <a:avLst/>
          </a:prstGeom>
        </p:spPr>
      </p:pic>
      <p:pic>
        <p:nvPicPr>
          <p:cNvPr id="3" name="Picture 4" descr="FedEx Logo transparent PNG - StickPNG">
            <a:extLst>
              <a:ext uri="{FF2B5EF4-FFF2-40B4-BE49-F238E27FC236}">
                <a16:creationId xmlns:a16="http://schemas.microsoft.com/office/drawing/2014/main" id="{0A44D176-D120-3A34-26AD-428056A7446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4269307" y="6039892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4752046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: Experiences">
    <p:bg>
      <p:bgPr>
        <a:gradFill>
          <a:gsLst>
            <a:gs pos="100000">
              <a:srgbClr val="4D148C"/>
            </a:gs>
            <a:gs pos="52000">
              <a:srgbClr val="FF6600"/>
            </a:gs>
            <a:gs pos="0">
              <a:srgbClr val="FF6600"/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67DA4C7-E533-BEB9-321E-55EC7149D2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6" y="0"/>
            <a:ext cx="12222566" cy="68580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D19F69FD-980C-78AB-897F-669226AEB874}"/>
              </a:ext>
            </a:extLst>
          </p:cNvPr>
          <p:cNvGrpSpPr/>
          <p:nvPr userDrawn="1"/>
        </p:nvGrpSpPr>
        <p:grpSpPr>
          <a:xfrm>
            <a:off x="1843570" y="3231478"/>
            <a:ext cx="8504862" cy="1234197"/>
            <a:chOff x="3296248" y="6314100"/>
            <a:chExt cx="17011938" cy="2468394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7" name="Text Placeholder 2">
              <a:extLst>
                <a:ext uri="{FF2B5EF4-FFF2-40B4-BE49-F238E27FC236}">
                  <a16:creationId xmlns:a16="http://schemas.microsoft.com/office/drawing/2014/main" id="{A0732C55-6C1F-2C5D-5906-4B4294BC1FE3}"/>
                </a:ext>
              </a:extLst>
            </p:cNvPr>
            <p:cNvSpPr txBox="1">
              <a:spLocks/>
            </p:cNvSpPr>
            <p:nvPr/>
          </p:nvSpPr>
          <p:spPr>
            <a:xfrm>
              <a:off x="3296248" y="6314100"/>
              <a:ext cx="17011938" cy="24683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63F459E-8E82-9949-2E2A-48FAD87558AC}"/>
                </a:ext>
              </a:extLst>
            </p:cNvPr>
            <p:cNvSpPr/>
            <p:nvPr/>
          </p:nvSpPr>
          <p:spPr>
            <a:xfrm>
              <a:off x="5294574" y="6717392"/>
              <a:ext cx="13015281" cy="1672828"/>
            </a:xfrm>
            <a:prstGeom prst="rect">
              <a:avLst/>
            </a:prstGeom>
            <a:ln>
              <a:noFill/>
            </a:ln>
          </p:spPr>
          <p:txBody>
            <a:bodyPr wrap="none" anchor="ctr">
              <a:noAutofit/>
            </a:bodyPr>
            <a:lstStyle/>
            <a:p>
              <a:pPr algn="ctr" defTabSz="412626">
                <a:defRPr/>
              </a:pP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 Black" panose="020B0604020202020204" pitchFamily="34" charset="0"/>
                  <a:sym typeface="Arial"/>
                </a:rPr>
                <a:t>experiences</a:t>
              </a:r>
              <a:r>
                <a:rPr lang="en-US" sz="4400" b="0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 that </a:t>
              </a:r>
              <a:r>
                <a:rPr lang="en-US" sz="4400" b="1" i="0" kern="0">
                  <a:solidFill>
                    <a:srgbClr val="FFFFFF"/>
                  </a:solidFill>
                  <a:latin typeface="Roboto" panose="02000000000000000000" pitchFamily="2" charset="0"/>
                  <a:ea typeface="Roboto" panose="02000000000000000000" pitchFamily="2" charset="0"/>
                  <a:cs typeface="Arial" panose="020B0604020202020204" pitchFamily="34" charset="0"/>
                  <a:sym typeface="Arial"/>
                </a:rPr>
                <a:t>matte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662BFF3-DC7B-6C07-E632-CF752B0B467E}"/>
              </a:ext>
            </a:extLst>
          </p:cNvPr>
          <p:cNvGrpSpPr/>
          <p:nvPr userDrawn="1"/>
        </p:nvGrpSpPr>
        <p:grpSpPr>
          <a:xfrm>
            <a:off x="1538952" y="2843346"/>
            <a:ext cx="2182673" cy="620278"/>
            <a:chOff x="2548425" y="5309101"/>
            <a:chExt cx="4365914" cy="1240556"/>
          </a:xfrm>
          <a:effectLst>
            <a:outerShdw blurRad="431800" dist="152400" dir="5400000" algn="t" rotWithShape="0">
              <a:prstClr val="black">
                <a:alpha val="25000"/>
              </a:prstClr>
            </a:outerShdw>
          </a:effectLst>
        </p:grpSpPr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FA9722BB-6E5F-5A02-D984-FCA4E32773DF}"/>
                </a:ext>
              </a:extLst>
            </p:cNvPr>
            <p:cNvSpPr txBox="1">
              <a:spLocks/>
            </p:cNvSpPr>
            <p:nvPr/>
          </p:nvSpPr>
          <p:spPr>
            <a:xfrm>
              <a:off x="2548425" y="5309101"/>
              <a:ext cx="4365914" cy="124055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>
              <a:noAutofit/>
            </a:bodyPr>
            <a:lstStyle>
              <a:lvl1pPr marL="319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1pPr>
              <a:lvl2pPr marL="763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2pPr>
              <a:lvl3pPr marL="1208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3pPr>
              <a:lvl4pPr marL="1652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4pPr>
              <a:lvl5pPr marL="2097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5pPr>
              <a:lvl6pPr marL="2541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6pPr>
              <a:lvl7pPr marL="2986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7pPr>
              <a:lvl8pPr marL="34309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8pPr>
              <a:lvl9pPr marL="3875484" marR="0" indent="-319484" algn="l" defTabSz="653075" rtl="0" latinLnBrk="0">
                <a:lnSpc>
                  <a:spcPct val="16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45000"/>
                <a:buFontTx/>
                <a:buChar char="•"/>
                <a:tabLst/>
                <a:defRPr sz="2300" b="0" i="0" u="none" strike="noStrike" cap="none" spc="92" baseline="0">
                  <a:solidFill>
                    <a:srgbClr val="434E5B"/>
                  </a:solidFill>
                  <a:uFillTx/>
                  <a:latin typeface="Montserrat Regular"/>
                  <a:ea typeface="Montserrat Regular"/>
                  <a:cs typeface="Montserrat Regular"/>
                  <a:sym typeface="Montserrat Regular"/>
                </a:defRPr>
              </a:lvl9pPr>
            </a:lstStyle>
            <a:p>
              <a:pPr marL="0" indent="0" algn="ctr">
                <a:buNone/>
                <a:defRPr/>
              </a:pPr>
              <a:endParaRPr lang="en-US" sz="2000" b="0" i="0" kern="0">
                <a:solidFill>
                  <a:srgbClr val="0237A8"/>
                </a:solidFill>
                <a:latin typeface="Montserrat" pitchFamily="2" charset="77"/>
                <a:cs typeface="Arial" panose="020B060402020202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871393D-2666-2764-F7D8-3F2080F9181C}"/>
                </a:ext>
              </a:extLst>
            </p:cNvPr>
            <p:cNvSpPr/>
            <p:nvPr/>
          </p:nvSpPr>
          <p:spPr>
            <a:xfrm>
              <a:off x="3247704" y="5565923"/>
              <a:ext cx="2967354" cy="861774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412626">
                <a:defRPr/>
              </a:pPr>
              <a:r>
                <a:rPr lang="en-US" sz="2200" b="0" i="0" kern="0">
                  <a:solidFill>
                    <a:srgbClr val="121212"/>
                  </a:solidFill>
                  <a:latin typeface="Montserrat" pitchFamily="2" charset="77"/>
                  <a:cs typeface="Arial" panose="020B0604020202020204" pitchFamily="34" charset="0"/>
                  <a:sym typeface="Arial"/>
                </a:rPr>
                <a:t>we make</a:t>
              </a:r>
            </a:p>
          </p:txBody>
        </p:sp>
      </p:grpSp>
      <p:pic>
        <p:nvPicPr>
          <p:cNvPr id="15" name="Picture 1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14DE4832-F469-563D-53EF-A57EB4EED5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4472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: logo">
    <p:bg>
      <p:bgPr>
        <a:gradFill>
          <a:gsLst>
            <a:gs pos="98000">
              <a:srgbClr val="4D148C"/>
            </a:gs>
            <a:gs pos="0">
              <a:srgbClr val="FF6600"/>
            </a:gs>
            <a:gs pos="48000">
              <a:srgbClr val="FF6600"/>
            </a:gs>
          </a:gsLst>
          <a:lin ang="21594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34AFB12-161B-3BB9-3858-7A0D9CAFB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2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8000"/>
                    </a14:imgEffect>
                    <a14:imgEffect>
                      <a14:saturation sat="0"/>
                    </a14:imgEffect>
                    <a14:imgEffect>
                      <a14:brightnessContrast bright="19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343"/>
            <a:ext cx="12192000" cy="6858000"/>
          </a:xfrm>
          <a:prstGeom prst="rect">
            <a:avLst/>
          </a:prstGeom>
        </p:spPr>
      </p:pic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63748FC-CDA0-591D-B826-42A262668D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3682033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1906C281-6836-14C3-F893-35443E5A04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2956002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1E9C7F0-6827-6757-B00A-2EB26F6F0A5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87110" y="5362879"/>
            <a:ext cx="1417780" cy="29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294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List 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EBC387FA-30CE-BDD8-680C-4C980FEA9E5C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047CEF-9DFE-9657-725E-BEDF2BE84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63321A3-8E3C-4944-B4E6-70D4CE9FD2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3249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172831-0F03-D14D-A9A8-DFFD8640E6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249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795939C-3A5F-2C4B-9CC2-B1390D339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249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AAD867B-64EE-F14A-A93C-1062E49B16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249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E9027DA-DF10-6646-8749-6A38B5BA70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3249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0259EF6-80A9-F64A-9BF6-65321D108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49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BB9907-E330-704E-8BB2-C8C14D2E22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3249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7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A1212DD-6A43-AC45-B219-95C01E21AA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49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8.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B13C6B77-2E88-D96A-D91B-4A2DC16181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538576" y="1931205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FA60DAD7-8E0F-D013-ABB1-1B709B784E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538576" y="2442083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CF8F9177-5A8B-EFE5-B981-3C05DDF9CD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538576" y="2967367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E24650AC-7198-8A38-2314-18E50D00C31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538576" y="3480936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7E8247CA-AD91-E8F3-12B9-E2F6F6D09F7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38576" y="4000363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C0F90C87-48C5-BD13-4F85-7A19BF749B8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538576" y="4519789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E3CF342B-849A-D07C-A349-24DCD5F68D9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538576" y="5039216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8" name="Content Placeholder 8">
            <a:extLst>
              <a:ext uri="{FF2B5EF4-FFF2-40B4-BE49-F238E27FC236}">
                <a16:creationId xmlns:a16="http://schemas.microsoft.com/office/drawing/2014/main" id="{FD1B2A4E-270E-BE06-08C7-F07E702A3E39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38576" y="5558641"/>
            <a:ext cx="4690269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D34B9810-81E3-A96C-BF76-20F1F364FD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51E9A3C-6A11-6F2D-DA4E-53529DE669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98A7F99-76A1-1164-E960-C3236D1B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593C07D-AD29-EB78-DA1F-DAFB7090AD3D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796475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List 2'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">
            <a:extLst>
              <a:ext uri="{FF2B5EF4-FFF2-40B4-BE49-F238E27FC236}">
                <a16:creationId xmlns:a16="http://schemas.microsoft.com/office/drawing/2014/main" id="{DC435823-9F66-D842-0BAE-ABCDAD7E1AE0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047CEF-9DFE-9657-725E-BEDF2BE84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863321A3-8E3C-4944-B4E6-70D4CE9FD2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3249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6172831-0F03-D14D-A9A8-DFFD8640E6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3249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795939C-3A5F-2C4B-9CC2-B1390D339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3249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3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8AAD867B-64EE-F14A-A93C-1062E49B16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249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4.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E9027DA-DF10-6646-8749-6A38B5BA70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3249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5.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20259EF6-80A9-F64A-9BF6-65321D108D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249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6.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2EBB9907-E330-704E-8BB2-C8C14D2E22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3249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7.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A1212DD-6A43-AC45-B219-95C01E21AA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49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8.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B13C6B77-2E88-D96A-D91B-4A2DC16181D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1538576" y="1931205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2" name="Content Placeholder 8">
            <a:extLst>
              <a:ext uri="{FF2B5EF4-FFF2-40B4-BE49-F238E27FC236}">
                <a16:creationId xmlns:a16="http://schemas.microsoft.com/office/drawing/2014/main" id="{FA60DAD7-8E0F-D013-ABB1-1B709B784EF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538576" y="244208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CF8F9177-5A8B-EFE5-B981-3C05DDF9CD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1538576" y="2967367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E24650AC-7198-8A38-2314-18E50D00C316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538576" y="348093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5" name="Content Placeholder 8">
            <a:extLst>
              <a:ext uri="{FF2B5EF4-FFF2-40B4-BE49-F238E27FC236}">
                <a16:creationId xmlns:a16="http://schemas.microsoft.com/office/drawing/2014/main" id="{7E8247CA-AD91-E8F3-12B9-E2F6F6D09F7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538576" y="400036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C0F90C87-48C5-BD13-4F85-7A19BF749B83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538576" y="4519789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7" name="Content Placeholder 8">
            <a:extLst>
              <a:ext uri="{FF2B5EF4-FFF2-40B4-BE49-F238E27FC236}">
                <a16:creationId xmlns:a16="http://schemas.microsoft.com/office/drawing/2014/main" id="{E3CF342B-849A-D07C-A349-24DCD5F68D9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538576" y="503921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8" name="Content Placeholder 8">
            <a:extLst>
              <a:ext uri="{FF2B5EF4-FFF2-40B4-BE49-F238E27FC236}">
                <a16:creationId xmlns:a16="http://schemas.microsoft.com/office/drawing/2014/main" id="{FD1B2A4E-270E-BE06-08C7-F07E702A3E39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538576" y="5558641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D34B9810-81E3-A96C-BF76-20F1F364FD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251E9A3C-6A11-6F2D-DA4E-53529DE669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6E22E486-2AC7-A01B-9073-68A6400400D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963148" y="191070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.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C7482399-7D2A-5502-D4FD-58EBB092608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63148" y="242890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0.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C634FEA-8422-BE60-1990-65929BD80E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63148" y="294711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1.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9016C576-B349-78DF-CC1D-A09D9F6A4B4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963148" y="346531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2.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35C2A8C-1C27-FBD2-A6DF-19262D1CF0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963148" y="398352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3.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8654C63-BEBE-7B81-DED4-2312913362F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63148" y="4501725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4.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9EE34A7-C4E1-7550-82F7-7D2E08D7ED2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963148" y="5019930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.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B82F3E5B-0DCA-F163-6606-6CCF6DC7C80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63148" y="5538136"/>
            <a:ext cx="506820" cy="312893"/>
          </a:xfrm>
        </p:spPr>
        <p:txBody>
          <a:bodyPr rIns="0">
            <a:noAutofit/>
          </a:bodyPr>
          <a:lstStyle>
            <a:lvl1pPr marL="0" indent="0" algn="r">
              <a:buFontTx/>
              <a:buNone/>
              <a:defRPr sz="2000" b="1" i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6.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06C3410F-A1BF-AC9F-7353-58CFC079B9E4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6586583" y="1928045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4B76E5A5-DD4C-6C22-F3C5-C9B719630EEF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586583" y="243892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9685772B-5A95-75C5-17D6-8C50C2B114B8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6586583" y="2964207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0421F306-5253-A98B-9765-F2082AFE459E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6586583" y="347777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74D12D39-2FB9-380B-725F-57FD1D9F2A88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6586583" y="3997203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C5F0A0C9-A019-3DE1-06E0-6A2B10BA124D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586583" y="4516629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7" name="Content Placeholder 8">
            <a:extLst>
              <a:ext uri="{FF2B5EF4-FFF2-40B4-BE49-F238E27FC236}">
                <a16:creationId xmlns:a16="http://schemas.microsoft.com/office/drawing/2014/main" id="{0F43FAA9-72E8-0E1E-58AA-2F32DA60049D}"/>
              </a:ext>
            </a:extLst>
          </p:cNvPr>
          <p:cNvSpPr>
            <a:spLocks noGrp="1"/>
          </p:cNvSpPr>
          <p:nvPr>
            <p:ph sz="quarter" idx="42" hasCustomPrompt="1"/>
          </p:nvPr>
        </p:nvSpPr>
        <p:spPr>
          <a:xfrm>
            <a:off x="6586583" y="5036056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7493E234-36A9-F1E6-99FB-4A1C3F031FAE}"/>
              </a:ext>
            </a:extLst>
          </p:cNvPr>
          <p:cNvSpPr>
            <a:spLocks noGrp="1"/>
          </p:cNvSpPr>
          <p:nvPr>
            <p:ph sz="quarter" idx="43" hasCustomPrompt="1"/>
          </p:nvPr>
        </p:nvSpPr>
        <p:spPr>
          <a:xfrm>
            <a:off x="6586583" y="5555481"/>
            <a:ext cx="4114800" cy="292388"/>
          </a:xfrm>
        </p:spPr>
        <p:txBody>
          <a:bodyPr lIns="0" bIns="0" anchor="b" anchorCtr="0">
            <a:spAutoFit/>
          </a:bodyPr>
          <a:lstStyle>
            <a:lvl1pPr marL="0" indent="0" algn="l">
              <a:buFontTx/>
              <a:buNone/>
              <a:defRPr sz="1600" b="0" i="0" spc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</a:t>
            </a:r>
          </a:p>
        </p:txBody>
      </p:sp>
      <p:pic>
        <p:nvPicPr>
          <p:cNvPr id="39" name="Picture 3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90FA659D-002F-EEAB-1D7C-DC58F1F910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81505F01-6899-5582-39AA-24671CB9CDA9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007165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Diagonal 1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>
            <a:extLst>
              <a:ext uri="{FF2B5EF4-FFF2-40B4-BE49-F238E27FC236}">
                <a16:creationId xmlns:a16="http://schemas.microsoft.com/office/drawing/2014/main" id="{052F8A25-C4DB-1A6C-4A5E-9F849E5C6876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5EA1FA9-14F5-DC4A-80F6-42F04114C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3854EEF-47C8-6138-8AB8-E0CDC9333BE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8041E96-EE56-75CA-C1A2-196A766C91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9D2C57A-2D54-1D5F-6BDC-A2D89CF436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11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1BF4CFB-7386-6287-933F-A0E0908C4F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65C8C47-05E9-15E8-DA6C-A5B0D5B4953A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960448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Diagonal 2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B2A4E7FB-0601-F379-7BE4-F93FDA779710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EFCA042-409C-054F-9373-605461D59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8" y="418644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D0E1185D-7D71-D84D-8180-55DC417FF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4400" y="6326265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fld id="{C82DAED8-6370-1944-9638-AED4C0B68BD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4BC5CBA-6166-66E7-D824-15AF7B4DE0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7911" y="1920240"/>
            <a:ext cx="10257693" cy="4114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23736EC4-7043-E0FD-64ED-EF16517EEE1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7FDA0D8-CCA9-6D3E-7658-1998681D00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6" name="Picture 5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4874D629-32E5-6A6A-AB96-E915ADCB23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236E8C4-A7AB-744E-841F-106BD56275DF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15930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white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C793BCC-B3DF-FD4E-B6C7-B3A1C2423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813461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C793BCC-B3DF-FD4E-B6C7-B3A1C2423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4838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Title 1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69120F4-95C0-EF4C-A098-8CE2B2365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8282" t="6242" b="6109"/>
          <a:stretch/>
        </p:blipFill>
        <p:spPr>
          <a:xfrm>
            <a:off x="2" y="0"/>
            <a:ext cx="5893904" cy="685800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0673FEFE-643C-D5D9-0611-7A84DC0F4B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46403" y="1873063"/>
            <a:ext cx="4910932" cy="384016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="0" i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1500" b="0" i="0">
                <a:solidFill>
                  <a:schemeClr val="bg1"/>
                </a:solidFill>
                <a:latin typeface="Montserrat" pitchFamily="2" charset="77"/>
              </a:defRPr>
            </a:lvl2pPr>
            <a:lvl3pPr>
              <a:defRPr sz="1500" b="0" i="0">
                <a:solidFill>
                  <a:schemeClr val="bg1"/>
                </a:solidFill>
                <a:latin typeface="Montserrat" pitchFamily="2" charset="77"/>
              </a:defRPr>
            </a:lvl3pPr>
            <a:lvl4pPr>
              <a:defRPr sz="1500" b="0" i="0">
                <a:solidFill>
                  <a:schemeClr val="bg1"/>
                </a:solidFill>
                <a:latin typeface="Montserrat" pitchFamily="2" charset="77"/>
              </a:defRPr>
            </a:lvl4pPr>
            <a:lvl5pPr>
              <a:defRPr sz="1500" b="0" i="0">
                <a:solidFill>
                  <a:schemeClr val="bg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0BABCDA3-A8A8-992C-5200-AE778E5BF74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33684" y="3212488"/>
            <a:ext cx="505091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C515D76-849B-0E83-E97A-439A9D49AB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049" y="3504157"/>
            <a:ext cx="505091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pic>
        <p:nvPicPr>
          <p:cNvPr id="5" name="Picture 4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EA0209EA-F184-4390-DE80-93E1E81EC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610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4 Boxes 2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">
            <a:extLst>
              <a:ext uri="{FF2B5EF4-FFF2-40B4-BE49-F238E27FC236}">
                <a16:creationId xmlns:a16="http://schemas.microsoft.com/office/drawing/2014/main" id="{87346632-9B0C-9E2A-9CCB-8FBEA511909C}"/>
              </a:ext>
            </a:extLst>
          </p:cNvPr>
          <p:cNvSpPr/>
          <p:nvPr userDrawn="1"/>
        </p:nvSpPr>
        <p:spPr>
          <a:xfrm>
            <a:off x="2874577" y="-20171"/>
            <a:ext cx="9396797" cy="6919446"/>
          </a:xfrm>
          <a:custGeom>
            <a:avLst/>
            <a:gdLst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0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3161211 w 9314996"/>
              <a:gd name="connsiteY3" fmla="*/ 6858000 h 6858000"/>
              <a:gd name="connsiteX4" fmla="*/ 0 w 9314996"/>
              <a:gd name="connsiteY4" fmla="*/ 0 h 6858000"/>
              <a:gd name="connsiteX0" fmla="*/ 0 w 9314996"/>
              <a:gd name="connsiteY0" fmla="*/ 0 h 6866709"/>
              <a:gd name="connsiteX1" fmla="*/ 9314996 w 9314996"/>
              <a:gd name="connsiteY1" fmla="*/ 0 h 6866709"/>
              <a:gd name="connsiteX2" fmla="*/ 9314996 w 9314996"/>
              <a:gd name="connsiteY2" fmla="*/ 6858000 h 6866709"/>
              <a:gd name="connsiteX3" fmla="*/ 4789714 w 9314996"/>
              <a:gd name="connsiteY3" fmla="*/ 6866709 h 6866709"/>
              <a:gd name="connsiteX4" fmla="*/ 0 w 9314996"/>
              <a:gd name="connsiteY4" fmla="*/ 0 h 6866709"/>
              <a:gd name="connsiteX0" fmla="*/ 0 w 9314996"/>
              <a:gd name="connsiteY0" fmla="*/ 0 h 6858000"/>
              <a:gd name="connsiteX1" fmla="*/ 9314996 w 9314996"/>
              <a:gd name="connsiteY1" fmla="*/ 0 h 6858000"/>
              <a:gd name="connsiteX2" fmla="*/ 9314996 w 9314996"/>
              <a:gd name="connsiteY2" fmla="*/ 6858000 h 6858000"/>
              <a:gd name="connsiteX3" fmla="*/ 5651863 w 9314996"/>
              <a:gd name="connsiteY3" fmla="*/ 6831875 h 6858000"/>
              <a:gd name="connsiteX4" fmla="*/ 0 w 9314996"/>
              <a:gd name="connsiteY4" fmla="*/ 0 h 6858000"/>
              <a:gd name="connsiteX0" fmla="*/ 0 w 9314996"/>
              <a:gd name="connsiteY0" fmla="*/ 0 h 6901543"/>
              <a:gd name="connsiteX1" fmla="*/ 9314996 w 9314996"/>
              <a:gd name="connsiteY1" fmla="*/ 0 h 6901543"/>
              <a:gd name="connsiteX2" fmla="*/ 9314996 w 9314996"/>
              <a:gd name="connsiteY2" fmla="*/ 6858000 h 6901543"/>
              <a:gd name="connsiteX3" fmla="*/ 4963886 w 9314996"/>
              <a:gd name="connsiteY3" fmla="*/ 6901543 h 6901543"/>
              <a:gd name="connsiteX4" fmla="*/ 0 w 9314996"/>
              <a:gd name="connsiteY4" fmla="*/ 0 h 6901543"/>
              <a:gd name="connsiteX0" fmla="*/ 0 w 9314996"/>
              <a:gd name="connsiteY0" fmla="*/ 0 h 6875417"/>
              <a:gd name="connsiteX1" fmla="*/ 9314996 w 9314996"/>
              <a:gd name="connsiteY1" fmla="*/ 0 h 6875417"/>
              <a:gd name="connsiteX2" fmla="*/ 9314996 w 9314996"/>
              <a:gd name="connsiteY2" fmla="*/ 6858000 h 6875417"/>
              <a:gd name="connsiteX3" fmla="*/ 4955178 w 9314996"/>
              <a:gd name="connsiteY3" fmla="*/ 6875417 h 6875417"/>
              <a:gd name="connsiteX4" fmla="*/ 0 w 9314996"/>
              <a:gd name="connsiteY4" fmla="*/ 0 h 6875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996" h="6875417">
                <a:moveTo>
                  <a:pt x="0" y="0"/>
                </a:moveTo>
                <a:lnTo>
                  <a:pt x="9314996" y="0"/>
                </a:lnTo>
                <a:lnTo>
                  <a:pt x="9314996" y="6858000"/>
                </a:lnTo>
                <a:lnTo>
                  <a:pt x="4955178" y="687541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b="0" i="0">
              <a:latin typeface="Montserrat" pitchFamily="2" charset="77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4A201B7-71F3-ACE6-B5CA-145FC5B0F2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271A96EF-15B7-43BA-3DA1-4B71369BE79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25347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F0399910-3B64-85C5-7963-DA167CFA5FF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8026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42F139D7-683F-3963-E075-41B0AC5500D8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70705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5172D203-EE19-285C-E286-A6C6F5D2A35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3383" y="2918686"/>
            <a:ext cx="2011680" cy="3383280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7" name="Circle">
            <a:extLst>
              <a:ext uri="{FF2B5EF4-FFF2-40B4-BE49-F238E27FC236}">
                <a16:creationId xmlns:a16="http://schemas.microsoft.com/office/drawing/2014/main" id="{2DC1B171-D16F-407B-2A98-66CB5BDD436C}"/>
              </a:ext>
            </a:extLst>
          </p:cNvPr>
          <p:cNvSpPr>
            <a:spLocks noChangeAspect="1"/>
          </p:cNvSpPr>
          <p:nvPr/>
        </p:nvSpPr>
        <p:spPr>
          <a:xfrm>
            <a:off x="2332403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574E06F8-53CB-6240-371C-4315223CDCE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FF860DB-E5D8-6E7A-562F-6CBFFE70292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17B47402-068D-ECE4-C50E-D5420AE001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16787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0EB9C63-5FE8-A403-FC29-C8D63FA6C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16787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8" name="Circle">
            <a:extLst>
              <a:ext uri="{FF2B5EF4-FFF2-40B4-BE49-F238E27FC236}">
                <a16:creationId xmlns:a16="http://schemas.microsoft.com/office/drawing/2014/main" id="{70A083EC-2A84-8124-33A8-D29F51EF5103}"/>
              </a:ext>
            </a:extLst>
          </p:cNvPr>
          <p:cNvSpPr>
            <a:spLocks noChangeAspect="1"/>
          </p:cNvSpPr>
          <p:nvPr userDrawn="1"/>
        </p:nvSpPr>
        <p:spPr>
          <a:xfrm>
            <a:off x="4505082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AE66A09-C909-CD8B-1A91-5B89B889C40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89466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8072FEE-7CEB-F587-09C4-2B51A1E037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89466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1" name="Circle">
            <a:extLst>
              <a:ext uri="{FF2B5EF4-FFF2-40B4-BE49-F238E27FC236}">
                <a16:creationId xmlns:a16="http://schemas.microsoft.com/office/drawing/2014/main" id="{EC3FFFFB-1D3C-9D78-C18B-85A4377B25AF}"/>
              </a:ext>
            </a:extLst>
          </p:cNvPr>
          <p:cNvSpPr>
            <a:spLocks noChangeAspect="1"/>
          </p:cNvSpPr>
          <p:nvPr userDrawn="1"/>
        </p:nvSpPr>
        <p:spPr>
          <a:xfrm>
            <a:off x="6677761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FE9C156C-7D7B-5F88-6DFB-19C7DC831A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2145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B9CAAB5-311A-8678-8D44-923560BC0A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62145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4" name="Circle">
            <a:extLst>
              <a:ext uri="{FF2B5EF4-FFF2-40B4-BE49-F238E27FC236}">
                <a16:creationId xmlns:a16="http://schemas.microsoft.com/office/drawing/2014/main" id="{E86D7D4F-24C1-EE75-1596-320113832EB3}"/>
              </a:ext>
            </a:extLst>
          </p:cNvPr>
          <p:cNvSpPr>
            <a:spLocks noChangeAspect="1"/>
          </p:cNvSpPr>
          <p:nvPr userDrawn="1"/>
        </p:nvSpPr>
        <p:spPr>
          <a:xfrm>
            <a:off x="8850439" y="2587775"/>
            <a:ext cx="797569" cy="797673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8758A10-5F84-8196-1304-BCE909A370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34823" y="3458363"/>
            <a:ext cx="1828800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6AD2BB4B-AD0A-9B2F-DB07-134DFFFD4A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4823" y="3908389"/>
            <a:ext cx="1828800" cy="221499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="0" i="0" baseline="0">
                <a:solidFill>
                  <a:schemeClr val="tx1"/>
                </a:solidFill>
                <a:latin typeface="Montserrat" pitchFamily="2" charset="77"/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information here.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5D76AA7-A0A2-9101-E893-AF614DF63F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79EFDF0C-FD4E-C075-42B0-C3E86577BCA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7B92E03-D35B-3FEE-DB5D-77B566E9838B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88139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White Box + 3 Boxes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>
            <a:extLst>
              <a:ext uri="{FF2B5EF4-FFF2-40B4-BE49-F238E27FC236}">
                <a16:creationId xmlns:a16="http://schemas.microsoft.com/office/drawing/2014/main" id="{024741D9-5C9A-58DD-5A1E-B83E43CF1FF9}"/>
              </a:ext>
            </a:extLst>
          </p:cNvPr>
          <p:cNvSpPr/>
          <p:nvPr userDrawn="1"/>
        </p:nvSpPr>
        <p:spPr>
          <a:xfrm>
            <a:off x="-45395" y="-51880"/>
            <a:ext cx="12282792" cy="4362624"/>
          </a:xfrm>
          <a:custGeom>
            <a:avLst/>
            <a:gdLst>
              <a:gd name="connsiteX0" fmla="*/ 0 w 12188825"/>
              <a:gd name="connsiteY0" fmla="*/ 0 h 4310743"/>
              <a:gd name="connsiteX1" fmla="*/ 12188825 w 12188825"/>
              <a:gd name="connsiteY1" fmla="*/ 0 h 4310743"/>
              <a:gd name="connsiteX2" fmla="*/ 12188825 w 12188825"/>
              <a:gd name="connsiteY2" fmla="*/ 4310743 h 4310743"/>
              <a:gd name="connsiteX3" fmla="*/ 0 w 12188825"/>
              <a:gd name="connsiteY3" fmla="*/ 4310743 h 4310743"/>
              <a:gd name="connsiteX4" fmla="*/ 0 w 12188825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801189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  <a:gd name="connsiteX0" fmla="*/ 0 w 12197534"/>
              <a:gd name="connsiteY0" fmla="*/ 0 h 4310743"/>
              <a:gd name="connsiteX1" fmla="*/ 12188825 w 12197534"/>
              <a:gd name="connsiteY1" fmla="*/ 0 h 4310743"/>
              <a:gd name="connsiteX2" fmla="*/ 12197534 w 12197534"/>
              <a:gd name="connsiteY2" fmla="*/ 1384663 h 4310743"/>
              <a:gd name="connsiteX3" fmla="*/ 0 w 12197534"/>
              <a:gd name="connsiteY3" fmla="*/ 4310743 h 4310743"/>
              <a:gd name="connsiteX4" fmla="*/ 0 w 12197534"/>
              <a:gd name="connsiteY4" fmla="*/ 0 h 4310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7534" h="4310743">
                <a:moveTo>
                  <a:pt x="0" y="0"/>
                </a:moveTo>
                <a:lnTo>
                  <a:pt x="12188825" y="0"/>
                </a:lnTo>
                <a:lnTo>
                  <a:pt x="12197534" y="1384663"/>
                </a:lnTo>
                <a:lnTo>
                  <a:pt x="0" y="431074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18DC497E-27FC-3B4D-8C45-BEC44C11A9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7819" y="418645"/>
            <a:ext cx="11396364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2A4B1E20-B850-5349-8A8B-F02BDE4367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225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29" name="Circle">
            <a:extLst>
              <a:ext uri="{FF2B5EF4-FFF2-40B4-BE49-F238E27FC236}">
                <a16:creationId xmlns:a16="http://schemas.microsoft.com/office/drawing/2014/main" id="{AA72FE13-8CF2-969F-9BE1-A6CEFE6102F7}"/>
              </a:ext>
            </a:extLst>
          </p:cNvPr>
          <p:cNvSpPr>
            <a:spLocks noChangeAspect="1"/>
          </p:cNvSpPr>
          <p:nvPr userDrawn="1"/>
        </p:nvSpPr>
        <p:spPr>
          <a:xfrm>
            <a:off x="1581952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C2E9F07C-3F28-DE6F-ACE8-8466F5E6032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57912" y="754851"/>
            <a:ext cx="10257692" cy="261610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C7A4C4D-A30D-EFB3-E543-29E719D3E7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58277" y="1039796"/>
            <a:ext cx="10257693" cy="707886"/>
          </a:xfrm>
        </p:spPr>
        <p:txBody>
          <a:bodyPr wrap="square" anchor="ctr">
            <a:spAutoFit/>
          </a:bodyPr>
          <a:lstStyle>
            <a:lvl1pPr marL="0" indent="0" algn="ctr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246FDF-957F-034C-F793-5092D6B27E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344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2B3EBBF-AEDF-F08E-9344-A966E2C995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344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7B73EB-F1A9-92CA-246C-635FBABC6B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44313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8" name="Circle">
            <a:extLst>
              <a:ext uri="{FF2B5EF4-FFF2-40B4-BE49-F238E27FC236}">
                <a16:creationId xmlns:a16="http://schemas.microsoft.com/office/drawing/2014/main" id="{D05E42C8-C3F2-007A-D294-7F7A0FD8359A}"/>
              </a:ext>
            </a:extLst>
          </p:cNvPr>
          <p:cNvSpPr>
            <a:spLocks noChangeAspect="1"/>
          </p:cNvSpPr>
          <p:nvPr userDrawn="1"/>
        </p:nvSpPr>
        <p:spPr>
          <a:xfrm>
            <a:off x="5643040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0ADCAEE-0C5B-D62D-8C4F-BBD4AD8058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41432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5CF1FCC-7581-A28B-FD36-61E528C0DC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41432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CDD3159-F79E-C84C-272E-385C6401D6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33770" y="3366605"/>
            <a:ext cx="3503372" cy="2818832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12" name="Circle">
            <a:extLst>
              <a:ext uri="{FF2B5EF4-FFF2-40B4-BE49-F238E27FC236}">
                <a16:creationId xmlns:a16="http://schemas.microsoft.com/office/drawing/2014/main" id="{F822C310-D2E0-AC01-16B8-3844BED7D16A}"/>
              </a:ext>
            </a:extLst>
          </p:cNvPr>
          <p:cNvSpPr>
            <a:spLocks noChangeAspect="1"/>
          </p:cNvSpPr>
          <p:nvPr userDrawn="1"/>
        </p:nvSpPr>
        <p:spPr>
          <a:xfrm>
            <a:off x="9732497" y="2807911"/>
            <a:ext cx="905919" cy="906037"/>
          </a:xfrm>
          <a:prstGeom prst="ellipse">
            <a:avLst/>
          </a:prstGeom>
          <a:solidFill>
            <a:schemeClr val="bg1"/>
          </a:solidFill>
          <a:ln w="31750" cap="flat">
            <a:gradFill>
              <a:gsLst>
                <a:gs pos="55000">
                  <a:schemeClr val="accent2"/>
                </a:gs>
                <a:gs pos="0">
                  <a:schemeClr val="accent1"/>
                </a:gs>
                <a:gs pos="100000">
                  <a:schemeClr val="bg2"/>
                </a:gs>
              </a:gsLst>
              <a:lin ang="10800000" scaled="0"/>
            </a:gradFill>
            <a:miter lim="400000"/>
          </a:ln>
          <a:effectLst>
            <a:outerShdw blurRad="212356" sx="102000" sy="102000" algn="ctr" rotWithShape="0">
              <a:prstClr val="black">
                <a:alpha val="20302"/>
              </a:prstClr>
            </a:outerShdw>
          </a:effectLst>
        </p:spPr>
        <p:txBody>
          <a:bodyPr wrap="square" lIns="35705" tIns="35705" rIns="35705" bIns="35705" numCol="1" anchor="ctr">
            <a:noAutofit/>
          </a:bodyPr>
          <a:lstStyle/>
          <a:p>
            <a:pPr marL="0" marR="0" lvl="0" indent="0" algn="ctr" defTabSz="410642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FFFFFF"/>
                </a:solidFill>
              </a:defRPr>
            </a:pP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3C0DEA-F85C-79A7-B315-F123090420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30889" y="3773170"/>
            <a:ext cx="3109135" cy="373062"/>
          </a:xfrm>
        </p:spPr>
        <p:txBody>
          <a:bodyPr anchor="ctr"/>
          <a:lstStyle>
            <a:lvl1pPr marL="0" indent="0" algn="ctr">
              <a:spcAft>
                <a:spcPts val="0"/>
              </a:spcAft>
              <a:buNone/>
              <a:defRPr sz="1200" b="1" i="0" cap="none" spc="0" baseline="0">
                <a:solidFill>
                  <a:schemeClr val="tx1"/>
                </a:solidFill>
                <a:latin typeface="Montserrat Medium" pitchFamily="2" charset="77"/>
                <a:ea typeface="Roboto" panose="02000000000000000000" pitchFamily="2" charset="0"/>
              </a:defRPr>
            </a:lvl1pPr>
            <a:lvl2pPr marL="457063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 algn="ctr">
              <a:buNone/>
              <a:defRPr sz="1600" b="1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Header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8EB7C277-F3EF-BC3B-A099-CEF9A67B5E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30889" y="4340426"/>
            <a:ext cx="3109135" cy="17160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</a:defRPr>
            </a:lvl1pPr>
            <a:lvl2pPr marL="457063" indent="0">
              <a:spcAft>
                <a:spcPts val="0"/>
              </a:spcAft>
              <a:buNone/>
              <a:defRPr sz="1000"/>
            </a:lvl2pPr>
            <a:lvl3pPr marL="914126" indent="0">
              <a:spcAft>
                <a:spcPts val="0"/>
              </a:spcAft>
              <a:buNone/>
              <a:defRPr sz="1000"/>
            </a:lvl3pPr>
            <a:lvl4pPr marL="1371189" indent="0">
              <a:spcAft>
                <a:spcPts val="0"/>
              </a:spcAft>
              <a:buNone/>
              <a:defRPr sz="1000"/>
            </a:lvl4pPr>
            <a:lvl5pPr marL="1828252" indent="0">
              <a:spcAft>
                <a:spcPts val="0"/>
              </a:spcAft>
              <a:buNone/>
              <a:defRPr sz="1000"/>
            </a:lvl5pPr>
          </a:lstStyle>
          <a:p>
            <a:pPr lvl="0"/>
            <a:r>
              <a:rPr lang="en-US"/>
              <a:t>Insert bio information here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C5840E0-A33E-1470-FF2A-5E6D42210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60120" y="1920240"/>
            <a:ext cx="10257693" cy="4572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500" b="0" i="0">
                <a:solidFill>
                  <a:schemeClr val="tx1"/>
                </a:solidFill>
                <a:latin typeface="Montserrat" pitchFamily="2" charset="77"/>
              </a:defRPr>
            </a:lvl1pPr>
            <a:lvl2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2pPr>
            <a:lvl3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3pPr>
            <a:lvl4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4pPr>
            <a:lvl5pPr algn="l">
              <a:defRPr sz="1500"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75012BEF-FF9D-7A50-7994-E795BD500E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D2E8613-84F8-FE3C-276B-0D0A8E90FD84}"/>
              </a:ext>
            </a:extLst>
          </p:cNvPr>
          <p:cNvSpPr txBox="1"/>
          <p:nvPr userDrawn="1"/>
        </p:nvSpPr>
        <p:spPr>
          <a:xfrm>
            <a:off x="5124767" y="6596240"/>
            <a:ext cx="1857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/>
                </a:solidFill>
              </a:rPr>
              <a:t>Privileged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005022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Basic +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356" y="1541937"/>
            <a:ext cx="11247120" cy="4635027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Montserrat" pitchFamily="2" charset="77"/>
              </a:defRPr>
            </a:lvl1pPr>
            <a:lvl2pPr>
              <a:defRPr b="0" i="0">
                <a:solidFill>
                  <a:schemeClr val="tx1"/>
                </a:solidFill>
                <a:latin typeface="Montserrat" pitchFamily="2" charset="77"/>
              </a:defRPr>
            </a:lvl2pPr>
            <a:lvl3pPr>
              <a:defRPr b="0" i="0">
                <a:solidFill>
                  <a:schemeClr val="tx1"/>
                </a:solidFill>
                <a:latin typeface="Montserrat" pitchFamily="2" charset="77"/>
              </a:defRPr>
            </a:lvl3pPr>
            <a:lvl4pPr>
              <a:defRPr b="0" i="0">
                <a:solidFill>
                  <a:schemeClr val="tx1"/>
                </a:solidFill>
                <a:latin typeface="Montserrat" pitchFamily="2" charset="77"/>
              </a:defRPr>
            </a:lvl4pPr>
            <a:lvl5pPr>
              <a:defRPr b="0" i="0">
                <a:solidFill>
                  <a:schemeClr val="tx1"/>
                </a:solidFill>
                <a:latin typeface="Montserra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1228B109-0617-9CAF-9F0C-DE44CF8B948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472356" y="424062"/>
            <a:ext cx="11247120" cy="261610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1050" b="0" i="0" spc="0" baseline="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/>
              <a:t>SUBHEAD TEXT GOES HER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FC0273D-8CDB-5EE3-34F3-400BA04F157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2440" y="709007"/>
            <a:ext cx="11247120" cy="707886"/>
          </a:xfrm>
        </p:spPr>
        <p:txBody>
          <a:bodyPr wrap="square" anchor="ctr">
            <a:spAutoFit/>
          </a:bodyPr>
          <a:lstStyle>
            <a:lvl1pPr marL="0" indent="0" algn="l">
              <a:buFontTx/>
              <a:buNone/>
              <a:defRPr sz="4000" b="1" i="0" cap="none" spc="0" baseline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Headline tex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5E5C926-D204-652B-63A6-119ED4D687A0}"/>
              </a:ext>
            </a:extLst>
          </p:cNvPr>
          <p:cNvSpPr/>
          <p:nvPr userDrawn="1"/>
        </p:nvSpPr>
        <p:spPr>
          <a:xfrm>
            <a:off x="-3048" y="6812280"/>
            <a:ext cx="12198096" cy="45720"/>
          </a:xfrm>
          <a:prstGeom prst="rect">
            <a:avLst/>
          </a:prstGeom>
          <a:gradFill>
            <a:gsLst>
              <a:gs pos="0">
                <a:srgbClr val="FF6600"/>
              </a:gs>
              <a:gs pos="55000">
                <a:srgbClr val="FF6600"/>
              </a:gs>
              <a:gs pos="100000">
                <a:srgbClr val="4D148C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2B6D4F1-CE3B-B6EB-FBD9-ED0CA8B3A8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9081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gradien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A67A3BE-0E97-1F52-F590-BA156EF521C1}"/>
              </a:ext>
            </a:extLst>
          </p:cNvPr>
          <p:cNvSpPr/>
          <p:nvPr userDrawn="1"/>
        </p:nvSpPr>
        <p:spPr>
          <a:xfrm>
            <a:off x="-3048" y="6812280"/>
            <a:ext cx="12198096" cy="45720"/>
          </a:xfrm>
          <a:prstGeom prst="rect">
            <a:avLst/>
          </a:prstGeom>
          <a:gradFill>
            <a:gsLst>
              <a:gs pos="0">
                <a:srgbClr val="FF6600"/>
              </a:gs>
              <a:gs pos="55000">
                <a:srgbClr val="FF6600"/>
              </a:gs>
              <a:gs pos="100000">
                <a:srgbClr val="4D148C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44FA78D-3F65-1513-7598-5D5B6FD49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579071" y="6534069"/>
            <a:ext cx="493776" cy="24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808362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roach Slides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85B9AA4-5D54-5060-6891-64FDEBA267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5190" y="418646"/>
            <a:ext cx="10968992" cy="6008879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pic>
        <p:nvPicPr>
          <p:cNvPr id="4" name="Picture 3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8944513-A08F-3E36-2310-CBA831AC27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6796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">
    <p:bg>
      <p:bgPr>
        <a:gradFill flip="none" rotWithShape="1">
          <a:gsLst>
            <a:gs pos="78000">
              <a:srgbClr val="4D148C"/>
            </a:gs>
            <a:gs pos="28000">
              <a:srgbClr val="FF6600"/>
            </a:gs>
            <a:gs pos="0">
              <a:srgbClr val="FF6600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DC71A75-E061-EF62-95C1-3B0A0AFAC6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565" y="0"/>
            <a:ext cx="12222566" cy="6858000"/>
          </a:xfrm>
          <a:prstGeom prst="rect">
            <a:avLst/>
          </a:prstGeom>
        </p:spPr>
      </p:pic>
      <p:sp>
        <p:nvSpPr>
          <p:cNvPr id="11" name="Rectangle">
            <a:extLst>
              <a:ext uri="{FF2B5EF4-FFF2-40B4-BE49-F238E27FC236}">
                <a16:creationId xmlns:a16="http://schemas.microsoft.com/office/drawing/2014/main" id="{E50447A7-03FF-06D8-A3A0-97D41027AC18}"/>
              </a:ext>
            </a:extLst>
          </p:cNvPr>
          <p:cNvSpPr/>
          <p:nvPr userDrawn="1"/>
        </p:nvSpPr>
        <p:spPr>
          <a:xfrm>
            <a:off x="-30565" y="5688963"/>
            <a:ext cx="12253132" cy="120708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626" hangingPunct="0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 b="0" i="0" kern="0">
              <a:solidFill>
                <a:srgbClr val="FFFFFF"/>
              </a:solidFill>
              <a:latin typeface="Montserrat" pitchFamily="2" charset="77"/>
              <a:cs typeface="Arial"/>
              <a:sym typeface="Helvetica Neue Medium"/>
            </a:endParaRPr>
          </a:p>
        </p:txBody>
      </p:sp>
      <p:sp>
        <p:nvSpPr>
          <p:cNvPr id="18" name="+">
            <a:extLst>
              <a:ext uri="{FF2B5EF4-FFF2-40B4-BE49-F238E27FC236}">
                <a16:creationId xmlns:a16="http://schemas.microsoft.com/office/drawing/2014/main" id="{3953FDAA-D580-E508-2C32-10AE42B30C70}"/>
              </a:ext>
            </a:extLst>
          </p:cNvPr>
          <p:cNvSpPr txBox="1"/>
          <p:nvPr/>
        </p:nvSpPr>
        <p:spPr>
          <a:xfrm>
            <a:off x="9200671" y="6138532"/>
            <a:ext cx="310725" cy="4913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35705" tIns="35705" rIns="35705" bIns="35705" numCol="1" anchor="ctr">
            <a:noAutofit/>
          </a:bodyPr>
          <a:lstStyle>
            <a:lvl1pPr defTabSz="821531">
              <a:defRPr sz="4600" b="0" cap="all" spc="460">
                <a:solidFill>
                  <a:srgbClr val="375A89"/>
                </a:solidFill>
                <a:latin typeface="Rubik"/>
                <a:ea typeface="Rubik"/>
                <a:cs typeface="Rubik"/>
                <a:sym typeface="Rubik"/>
              </a:defRPr>
            </a:lvl1pPr>
          </a:lstStyle>
          <a:p>
            <a:pPr algn="ctr" hangingPunct="0">
              <a:defRPr/>
            </a:pPr>
            <a:r>
              <a:rPr sz="2300" b="1" kern="0">
                <a:solidFill>
                  <a:srgbClr val="333333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1AC1FBD-7600-4102-2C13-49BD1630CF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67208" y="1233377"/>
            <a:ext cx="5630917" cy="4641306"/>
          </a:xfrm>
          <a:prstGeom prst="rect">
            <a:avLst/>
          </a:prstGeom>
          <a:effectLst>
            <a:outerShdw blurRad="609600" algn="ctr" rotWithShape="0">
              <a:prstClr val="black">
                <a:alpha val="15283"/>
              </a:prstClr>
            </a:outerShdw>
          </a:effec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04DEE6-9427-C2D9-469E-F78CBE8BFBA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97024" y="2340278"/>
            <a:ext cx="4971279" cy="2232837"/>
          </a:xfrm>
        </p:spPr>
        <p:txBody>
          <a:bodyPr anchor="t">
            <a:noAutofit/>
          </a:bodyPr>
          <a:lstStyle>
            <a:lvl1pPr marL="0" indent="0">
              <a:lnSpc>
                <a:spcPct val="150000"/>
              </a:lnSpc>
              <a:buNone/>
              <a:defRPr sz="1150" b="0" i="0">
                <a:latin typeface="Montserrat" pitchFamily="2" charset="77"/>
              </a:defRPr>
            </a:lvl1pPr>
            <a:lvl2pPr marL="457063" indent="0">
              <a:buNone/>
              <a:defRPr sz="1200"/>
            </a:lvl2pPr>
            <a:lvl3pPr marL="914126" indent="0">
              <a:buNone/>
              <a:defRPr sz="1200"/>
            </a:lvl3pPr>
            <a:lvl4pPr marL="1371189" indent="0">
              <a:buNone/>
              <a:defRPr sz="1200"/>
            </a:lvl4pPr>
            <a:lvl5pPr marL="1828251" indent="0">
              <a:buNone/>
              <a:defRPr sz="12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Sed non </a:t>
            </a:r>
            <a:r>
              <a:rPr lang="en-US" err="1"/>
              <a:t>mauris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mi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vulputate</a:t>
            </a:r>
            <a:r>
              <a:rPr lang="en-US"/>
              <a:t> sed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. </a:t>
            </a:r>
            <a:r>
              <a:rPr lang="en-US" err="1"/>
              <a:t>Interdum</a:t>
            </a:r>
            <a:r>
              <a:rPr lang="en-US"/>
              <a:t> et </a:t>
            </a:r>
            <a:r>
              <a:rPr lang="en-US" err="1"/>
              <a:t>malesuada</a:t>
            </a:r>
            <a:r>
              <a:rPr lang="en-US"/>
              <a:t> fames ac ante ipsum </a:t>
            </a:r>
            <a:r>
              <a:rPr lang="en-US" err="1"/>
              <a:t>primis</a:t>
            </a:r>
            <a:r>
              <a:rPr lang="en-US"/>
              <a:t> in </a:t>
            </a:r>
            <a:r>
              <a:rPr lang="en-US" err="1"/>
              <a:t>faucibus</a:t>
            </a:r>
            <a:r>
              <a:rPr lang="en-US"/>
              <a:t>. Integer </a:t>
            </a:r>
            <a:r>
              <a:rPr lang="en-US" err="1"/>
              <a:t>finibus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neque</a:t>
            </a:r>
            <a:r>
              <a:rPr lang="en-US"/>
              <a:t>, non </a:t>
            </a:r>
            <a:r>
              <a:rPr lang="en-US" err="1"/>
              <a:t>tempor</a:t>
            </a:r>
            <a:r>
              <a:rPr lang="en-US"/>
              <a:t> libero semper </a:t>
            </a:r>
            <a:r>
              <a:rPr lang="en-US" err="1"/>
              <a:t>quis</a:t>
            </a:r>
            <a:r>
              <a:rPr lang="en-US"/>
              <a:t>. Duis </a:t>
            </a:r>
            <a:r>
              <a:rPr lang="en-US" err="1"/>
              <a:t>aliquet</a:t>
            </a:r>
            <a:r>
              <a:rPr lang="en-US"/>
              <a:t> porta </a:t>
            </a:r>
            <a:r>
              <a:rPr lang="en-US" err="1"/>
              <a:t>arcu</a:t>
            </a:r>
            <a:r>
              <a:rPr lang="en-US"/>
              <a:t> vitae </a:t>
            </a:r>
            <a:r>
              <a:rPr lang="en-US" err="1"/>
              <a:t>ultrices</a:t>
            </a:r>
            <a:r>
              <a:rPr lang="en-US"/>
              <a:t>. Morbi ac </a:t>
            </a:r>
            <a:r>
              <a:rPr lang="en-US" err="1"/>
              <a:t>nibh</a:t>
            </a:r>
            <a:r>
              <a:rPr lang="en-US"/>
              <a:t> at dolor </a:t>
            </a:r>
            <a:r>
              <a:rPr lang="en-US" err="1"/>
              <a:t>sagittis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</a:t>
            </a:r>
            <a:r>
              <a:rPr lang="en-US" err="1"/>
              <a:t>eu</a:t>
            </a:r>
            <a:r>
              <a:rPr lang="en-US"/>
              <a:t> lorem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arcu</a:t>
            </a:r>
            <a:r>
              <a:rPr lang="en-US"/>
              <a:t> porta </a:t>
            </a:r>
            <a:r>
              <a:rPr lang="en-US" err="1"/>
              <a:t>dignissim</a:t>
            </a:r>
            <a:r>
              <a:rPr lang="en-US"/>
              <a:t>. </a:t>
            </a:r>
            <a:r>
              <a:rPr lang="en-US" err="1"/>
              <a:t>Vivamus</a:t>
            </a:r>
            <a:r>
              <a:rPr lang="en-US"/>
              <a:t> at </a:t>
            </a:r>
            <a:r>
              <a:rPr lang="en-US" err="1"/>
              <a:t>ultrices</a:t>
            </a:r>
            <a:r>
              <a:rPr lang="en-US"/>
              <a:t> diam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metus</a:t>
            </a:r>
            <a:r>
              <a:rPr lang="en-US"/>
              <a:t> </a:t>
            </a:r>
            <a:r>
              <a:rPr lang="en-US" err="1"/>
              <a:t>felis</a:t>
            </a:r>
            <a:r>
              <a:rPr lang="en-US"/>
              <a:t>, </a:t>
            </a:r>
            <a:r>
              <a:rPr lang="en-US" err="1"/>
              <a:t>lobortis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fficitur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dignissim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ugue</a:t>
            </a:r>
            <a:r>
              <a:rPr lang="en-US"/>
              <a:t>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169B9BA-9232-F37E-6B5F-1C00CA0DCA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97024" y="1517155"/>
            <a:ext cx="4971279" cy="744538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4000" b="0" i="0" baseline="0"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457063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2pPr>
            <a:lvl3pPr marL="914126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3pPr>
            <a:lvl4pPr marL="1371189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4pPr>
            <a:lvl5pPr marL="1828251" indent="0">
              <a:buNone/>
              <a:defRPr sz="2200" b="1" i="0">
                <a:latin typeface="Roboto Black" panose="02000000000000000000" pitchFamily="2" charset="0"/>
                <a:ea typeface="Roboto Black" panose="02000000000000000000" pitchFamily="2" charset="0"/>
              </a:defRPr>
            </a:lvl5pPr>
          </a:lstStyle>
          <a:p>
            <a:pPr lvl="0"/>
            <a:r>
              <a:rPr lang="en-US"/>
              <a:t>Thank you!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33305BEC-5223-D05D-691A-417813C99C1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97024" y="4777233"/>
            <a:ext cx="4971279" cy="525802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000" b="0" i="0">
                <a:solidFill>
                  <a:schemeClr val="bg2"/>
                </a:solidFill>
                <a:latin typeface="Montserrat" pitchFamily="2" charset="77"/>
              </a:defRPr>
            </a:lvl1pPr>
            <a:lvl2pPr marL="457063" indent="0" algn="l">
              <a:buNone/>
              <a:defRPr b="1" i="0">
                <a:latin typeface="Montserrat" pitchFamily="2" charset="77"/>
              </a:defRPr>
            </a:lvl2pPr>
            <a:lvl3pPr marL="914126" indent="0" algn="l">
              <a:buNone/>
              <a:defRPr b="1" i="0">
                <a:latin typeface="Montserrat" pitchFamily="2" charset="77"/>
              </a:defRPr>
            </a:lvl3pPr>
            <a:lvl4pPr marL="1371189" indent="0" algn="l">
              <a:buNone/>
              <a:defRPr b="1" i="0">
                <a:latin typeface="Montserrat" pitchFamily="2" charset="77"/>
              </a:defRPr>
            </a:lvl4pPr>
            <a:lvl5pPr marL="1828251" indent="0" algn="l">
              <a:buNone/>
              <a:defRPr b="1" i="0">
                <a:latin typeface="Montserrat" pitchFamily="2" charset="77"/>
              </a:defRPr>
            </a:lvl5pPr>
          </a:lstStyle>
          <a:p>
            <a:pPr lvl="0"/>
            <a:r>
              <a:rPr lang="en-US"/>
              <a:t>Sincerely, </a:t>
            </a:r>
          </a:p>
          <a:p>
            <a:pPr lvl="0"/>
            <a:r>
              <a:rPr lang="en-US"/>
              <a:t>Insert Nam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6DD2246-0427-A918-99CF-17F8564CC23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63032" y="1216014"/>
            <a:ext cx="4110578" cy="4114800"/>
          </a:xfrm>
          <a:prstGeom prst="ellipse">
            <a:avLst/>
          </a:prstGeom>
          <a:ln w="53975">
            <a:solidFill>
              <a:srgbClr val="FFFFFF"/>
            </a:solidFill>
          </a:ln>
          <a:effectLst>
            <a:outerShdw blurRad="25904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2" name="Picture 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5B9B574-8DAB-1C45-B356-4825F21E88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09416" y="6246234"/>
            <a:ext cx="1491687" cy="345297"/>
          </a:xfrm>
          <a:prstGeom prst="rect">
            <a:avLst/>
          </a:prstGeom>
        </p:spPr>
      </p:pic>
      <p:pic>
        <p:nvPicPr>
          <p:cNvPr id="3" name="Picture 4" descr="FedEx Logo transparent PNG - StickPNG">
            <a:extLst>
              <a:ext uri="{FF2B5EF4-FFF2-40B4-BE49-F238E27FC236}">
                <a16:creationId xmlns:a16="http://schemas.microsoft.com/office/drawing/2014/main" id="{D1E7624A-4994-4E16-E54B-E3948415138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7672862" y="6149416"/>
            <a:ext cx="1429789" cy="4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0722656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: Confidential Client No Logo WWTD">
    <p:bg>
      <p:bgPr>
        <a:solidFill>
          <a:srgbClr val="4D14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3A5AE3A-3F5F-3F2A-F11E-9F06A68801B7}"/>
              </a:ext>
            </a:extLst>
          </p:cNvPr>
          <p:cNvSpPr/>
          <p:nvPr userDrawn="1"/>
        </p:nvSpPr>
        <p:spPr>
          <a:xfrm>
            <a:off x="-1" y="1"/>
            <a:ext cx="12192000" cy="6297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Montserrat" pitchFamily="2" charset="77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7BDC91-127F-AB7F-8CFD-03E679E009A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59709" y="1"/>
            <a:ext cx="5532291" cy="6297793"/>
          </a:xfrm>
        </p:spPr>
        <p:txBody>
          <a:bodyPr/>
          <a:lstStyle>
            <a:lvl1pPr marL="0" indent="0">
              <a:buNone/>
              <a:defRPr b="0" i="0"/>
            </a:lvl1pPr>
          </a:lstStyle>
          <a:p>
            <a:endParaRPr lang="en-US"/>
          </a:p>
        </p:txBody>
      </p:sp>
      <p:sp>
        <p:nvSpPr>
          <p:cNvPr id="2" name="Rounded Rectangle">
            <a:extLst>
              <a:ext uri="{FF2B5EF4-FFF2-40B4-BE49-F238E27FC236}">
                <a16:creationId xmlns:a16="http://schemas.microsoft.com/office/drawing/2014/main" id="{846FFAFF-7C7B-1906-A0F6-88E3F305DE24}"/>
              </a:ext>
            </a:extLst>
          </p:cNvPr>
          <p:cNvSpPr/>
          <p:nvPr userDrawn="1"/>
        </p:nvSpPr>
        <p:spPr>
          <a:xfrm>
            <a:off x="380700" y="-499471"/>
            <a:ext cx="1561340" cy="1642131"/>
          </a:xfrm>
          <a:prstGeom prst="roundRect">
            <a:avLst>
              <a:gd name="adj" fmla="val 12420"/>
            </a:avLst>
          </a:prstGeom>
          <a:solidFill>
            <a:srgbClr val="FFFFFF"/>
          </a:solidFill>
          <a:ln w="12700">
            <a:miter lim="400000"/>
          </a:ln>
          <a:effectLst>
            <a:outerShdw blurRad="609600" dist="64868" dir="5400000" rotWithShape="0">
              <a:srgbClr val="000000">
                <a:alpha val="15102"/>
              </a:srgbClr>
            </a:outerShdw>
          </a:effectLst>
        </p:spPr>
        <p:txBody>
          <a:bodyPr lIns="0" tIns="0" rIns="0" bIns="0" anchor="ctr"/>
          <a:lstStyle/>
          <a:p>
            <a:pPr>
              <a:lnSpc>
                <a:spcPts val="1400"/>
              </a:lnSpc>
              <a:defRPr sz="1200" b="0">
                <a:solidFill>
                  <a:srgbClr val="0000EE"/>
                </a:solidFill>
                <a:latin typeface="Times"/>
                <a:ea typeface="Times"/>
                <a:cs typeface="Times"/>
                <a:sym typeface="Times"/>
              </a:defRPr>
            </a:pPr>
            <a:endParaRPr sz="600" b="0" i="0">
              <a:latin typeface="Montserrat" pitchFamily="2" charset="77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FDC1B32-9892-725C-A7F3-62C3F65175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701" y="1484992"/>
            <a:ext cx="5934432" cy="1201737"/>
          </a:xfrm>
        </p:spPr>
        <p:txBody>
          <a:bodyPr/>
          <a:lstStyle>
            <a:lvl1pPr marL="0" indent="0">
              <a:buNone/>
              <a:defRPr sz="3600" b="0" i="0"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tatement Headline Goes He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DFA748-688F-EDCD-D7DE-AB2E1B0294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0701" y="2841048"/>
            <a:ext cx="5934432" cy="1190625"/>
          </a:xfrm>
        </p:spPr>
        <p:txBody>
          <a:bodyPr/>
          <a:lstStyle>
            <a:lvl1pPr marL="0" indent="0">
              <a:lnSpc>
                <a:spcPct val="150000"/>
              </a:lnSpc>
              <a:buNone/>
              <a:defRPr sz="1400" b="0" i="0"/>
            </a:lvl1pPr>
            <a:lvl2pPr marL="457063" indent="0">
              <a:buNone/>
              <a:defRPr sz="1100"/>
            </a:lvl2pPr>
            <a:lvl3pPr marL="914126" indent="0">
              <a:buNone/>
              <a:defRPr sz="1100"/>
            </a:lvl3pPr>
            <a:lvl4pPr marL="1371189" indent="0">
              <a:buNone/>
              <a:defRPr sz="1100"/>
            </a:lvl4pPr>
            <a:lvl5pPr marL="1828252" indent="0">
              <a:buNone/>
              <a:defRPr sz="11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Proin mi mi, </a:t>
            </a:r>
            <a:r>
              <a:rPr lang="en-US" err="1"/>
              <a:t>tincidunt</a:t>
            </a:r>
            <a:r>
              <a:rPr lang="en-US"/>
              <a:t> vitae </a:t>
            </a:r>
            <a:r>
              <a:rPr lang="en-US" err="1"/>
              <a:t>sollicitudin</a:t>
            </a:r>
            <a:r>
              <a:rPr lang="en-US"/>
              <a:t> at, cursus sed </a:t>
            </a:r>
            <a:r>
              <a:rPr lang="en-US" err="1"/>
              <a:t>purus</a:t>
            </a:r>
            <a:r>
              <a:rPr lang="en-US"/>
              <a:t>. </a:t>
            </a:r>
            <a:r>
              <a:rPr lang="en-US" err="1"/>
              <a:t>Curabitur</a:t>
            </a:r>
            <a:r>
              <a:rPr lang="en-US"/>
              <a:t> vel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elementum</a:t>
            </a:r>
            <a:r>
              <a:rPr lang="en-US"/>
              <a:t>,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sapien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, </a:t>
            </a:r>
            <a:r>
              <a:rPr lang="en-US" err="1"/>
              <a:t>ornare</a:t>
            </a:r>
            <a:r>
              <a:rPr lang="en-US"/>
              <a:t> </a:t>
            </a:r>
            <a:r>
              <a:rPr lang="en-US" err="1"/>
              <a:t>tortor</a:t>
            </a:r>
            <a:r>
              <a:rPr lang="en-US"/>
              <a:t>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A56179-45BD-6E0A-0EB6-C80AE5C753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099" y="4529934"/>
            <a:ext cx="5934033" cy="1101046"/>
          </a:xfrm>
        </p:spPr>
        <p:txBody>
          <a:bodyPr/>
          <a:lstStyle>
            <a:lvl1pPr>
              <a:defRPr sz="900" b="0" i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  <a:p>
            <a:pPr marL="228531" marR="0" lvl="0" indent="-228531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FF74EE3-A4D4-73D6-E835-E75E790455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0700" y="4118658"/>
            <a:ext cx="5916171" cy="346075"/>
          </a:xfrm>
        </p:spPr>
        <p:txBody>
          <a:bodyPr/>
          <a:lstStyle>
            <a:lvl1pPr marL="0" indent="0">
              <a:buNone/>
              <a:defRPr sz="1600" b="1" i="0" spc="0"/>
            </a:lvl1pPr>
          </a:lstStyle>
          <a:p>
            <a:pPr lvl="0"/>
            <a:r>
              <a:rPr lang="en-US"/>
              <a:t>What We Di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9858CC-DC9A-3F87-0881-1E90669E26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1309" y="282575"/>
            <a:ext cx="1305265" cy="725488"/>
          </a:xfrm>
        </p:spPr>
        <p:txBody>
          <a:bodyPr anchor="ctr"/>
          <a:lstStyle>
            <a:lvl1pPr marL="0" indent="0" algn="ctr">
              <a:buNone/>
              <a:defRPr sz="800" b="0" i="0" spc="300"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063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126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189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252" indent="0">
              <a:buNone/>
              <a:defRPr sz="900"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Text Case Study Nam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B9245E3-AF57-61D2-690D-8457B6CB4C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-1" r="43903" b="-1071"/>
          <a:stretch/>
        </p:blipFill>
        <p:spPr>
          <a:xfrm>
            <a:off x="380701" y="6476489"/>
            <a:ext cx="438663" cy="235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213478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">
    <p:bg>
      <p:bgPr>
        <a:gradFill>
          <a:gsLst>
            <a:gs pos="0">
              <a:schemeClr val="accent1"/>
            </a:gs>
            <a:gs pos="48000">
              <a:schemeClr val="accent2"/>
            </a:gs>
            <a:gs pos="99000">
              <a:schemeClr val="bg2"/>
            </a:gs>
          </a:gsLst>
          <a:path path="circle">
            <a:fillToRect l="100000" t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D56EB70-579B-002F-D996-4D93BE28F1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145565B-33BF-0CCC-7BFE-310AC8FEDE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81626" y="6514897"/>
            <a:ext cx="491221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212280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-column content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81192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340695"/>
            <a:ext cx="5157787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91" indent="0">
              <a:buNone/>
              <a:defRPr sz="2000" b="1"/>
            </a:lvl2pPr>
            <a:lvl3pPr marL="914180" indent="0">
              <a:buNone/>
              <a:defRPr sz="1800" b="1"/>
            </a:lvl3pPr>
            <a:lvl4pPr marL="1371271" indent="0">
              <a:buNone/>
              <a:defRPr sz="1600" b="1"/>
            </a:lvl4pPr>
            <a:lvl5pPr marL="1828361" indent="0">
              <a:buNone/>
              <a:defRPr sz="1600" b="1"/>
            </a:lvl5pPr>
            <a:lvl6pPr marL="2285452" indent="0">
              <a:buNone/>
              <a:defRPr sz="1600" b="1"/>
            </a:lvl6pPr>
            <a:lvl7pPr marL="2742541" indent="0">
              <a:buNone/>
              <a:defRPr sz="1600" b="1"/>
            </a:lvl7pPr>
            <a:lvl8pPr marL="3199632" indent="0">
              <a:buNone/>
              <a:defRPr sz="1600" b="1"/>
            </a:lvl8pPr>
            <a:lvl9pPr marL="365672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316266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40695"/>
            <a:ext cx="5183188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7091" indent="0">
              <a:buNone/>
              <a:defRPr sz="2000" b="1"/>
            </a:lvl2pPr>
            <a:lvl3pPr marL="914180" indent="0">
              <a:buNone/>
              <a:defRPr sz="1800" b="1"/>
            </a:lvl3pPr>
            <a:lvl4pPr marL="1371271" indent="0">
              <a:buNone/>
              <a:defRPr sz="1600" b="1"/>
            </a:lvl4pPr>
            <a:lvl5pPr marL="1828361" indent="0">
              <a:buNone/>
              <a:defRPr sz="1600" b="1"/>
            </a:lvl5pPr>
            <a:lvl6pPr marL="2285452" indent="0">
              <a:buNone/>
              <a:defRPr sz="1600" b="1"/>
            </a:lvl6pPr>
            <a:lvl7pPr marL="2742541" indent="0">
              <a:buNone/>
              <a:defRPr sz="1600" b="1"/>
            </a:lvl7pPr>
            <a:lvl8pPr marL="3199632" indent="0">
              <a:buNone/>
              <a:defRPr sz="1600" b="1"/>
            </a:lvl8pPr>
            <a:lvl9pPr marL="365672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16266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C9246B4-8547-0244-A8A1-CFF4AD6BD4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457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3F84FA-3989-DF42-B021-78C0729C7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14289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23F84FA-3989-DF42-B021-78C0729C7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702076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>
            <a:fillRect/>
          </a:stretch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3000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8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8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1" y="916290"/>
            <a:ext cx="2792832" cy="7919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579AE1-0EF4-48E2-89A1-E8BFCB832B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49F38C-0B23-402B-8788-FF8702A5D7D8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2</a:t>
            </a:r>
            <a:r>
              <a:rPr lang="en-US" sz="1067" b="0" i="0" kern="1200" baseline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2722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8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8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 algn="ctr">
              <a:buNone/>
              <a:defRPr sz="2000"/>
            </a:lvl2pPr>
            <a:lvl3pPr marL="914286" indent="0" algn="ctr">
              <a:buNone/>
              <a:defRPr sz="1800"/>
            </a:lvl3pPr>
            <a:lvl4pPr marL="1371430" indent="0" algn="ctr">
              <a:buNone/>
              <a:defRPr sz="1600"/>
            </a:lvl4pPr>
            <a:lvl5pPr marL="1828573" indent="0" algn="ctr">
              <a:buNone/>
              <a:defRPr sz="1600"/>
            </a:lvl5pPr>
            <a:lvl6pPr marL="2285718" indent="0" algn="ctr">
              <a:buNone/>
              <a:defRPr sz="1600"/>
            </a:lvl6pPr>
            <a:lvl7pPr marL="2742858" indent="0" algn="ctr">
              <a:buNone/>
              <a:defRPr sz="1600"/>
            </a:lvl7pPr>
            <a:lvl8pPr marL="3200000" indent="0" algn="ctr">
              <a:buNone/>
              <a:defRPr sz="1600"/>
            </a:lvl8pPr>
            <a:lvl9pPr marL="365714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1" y="916284"/>
            <a:ext cx="2792832" cy="791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1FEECE-7340-4D1D-844B-E497A8CBD6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duotone>
              <a:prstClr val="black"/>
              <a:schemeClr val="accent3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8" y="935803"/>
            <a:ext cx="2575833" cy="61154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DA7816-2BEF-49C4-B140-3CE1C965C766}"/>
              </a:ext>
            </a:extLst>
          </p:cNvPr>
          <p:cNvSpPr txBox="1"/>
          <p:nvPr userDrawn="1"/>
        </p:nvSpPr>
        <p:spPr>
          <a:xfrm>
            <a:off x="0" y="6498394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2</a:t>
            </a:r>
            <a:r>
              <a:rPr lang="en-US" sz="1067" b="0" i="0" kern="1200" baseline="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939727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5" y="1576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8"/>
            <a:ext cx="10515600" cy="130630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96"/>
            <a:ext cx="2293584" cy="50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3407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5" y="1576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31"/>
            <a:ext cx="10515600" cy="1741972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4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28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6749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8324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5" y="2707349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5097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 with white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6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51" y="6367415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1870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D-Prework and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06DE542-649E-4BAF-8CB4-C3454B4C28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2" y="1567"/>
            <a:ext cx="12184841" cy="685486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0623E19-31BC-4D34-AF5F-1570B02D2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81192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B2EAB23-CEA1-4427-9D38-626C933E35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2" y="1340695"/>
            <a:ext cx="5157787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6915" indent="0">
              <a:buNone/>
              <a:defRPr sz="2000" b="1"/>
            </a:lvl2pPr>
            <a:lvl3pPr marL="913828" indent="0">
              <a:buNone/>
              <a:defRPr sz="1800" b="1"/>
            </a:lvl3pPr>
            <a:lvl4pPr marL="1370744" indent="0">
              <a:buNone/>
              <a:defRPr sz="1600" b="1"/>
            </a:lvl4pPr>
            <a:lvl5pPr marL="1827657" indent="0">
              <a:buNone/>
              <a:defRPr sz="1600" b="1"/>
            </a:lvl5pPr>
            <a:lvl6pPr marL="2284572" indent="0">
              <a:buNone/>
              <a:defRPr sz="1600" b="1"/>
            </a:lvl6pPr>
            <a:lvl7pPr marL="2741486" indent="0">
              <a:buNone/>
              <a:defRPr sz="1600" b="1"/>
            </a:lvl7pPr>
            <a:lvl8pPr marL="3198400" indent="0">
              <a:buNone/>
              <a:defRPr sz="1600" b="1"/>
            </a:lvl8pPr>
            <a:lvl9pPr marL="36553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28AE799-85DA-451C-A94D-BBA2152DA5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2" y="2316269"/>
            <a:ext cx="5157787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092B00F-A9F0-42C4-90BF-658B62AAE7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340695"/>
            <a:ext cx="5183188" cy="823912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bg2"/>
                </a:solidFill>
              </a:defRPr>
            </a:lvl1pPr>
            <a:lvl2pPr marL="456915" indent="0">
              <a:buNone/>
              <a:defRPr sz="2000" b="1"/>
            </a:lvl2pPr>
            <a:lvl3pPr marL="913828" indent="0">
              <a:buNone/>
              <a:defRPr sz="1800" b="1"/>
            </a:lvl3pPr>
            <a:lvl4pPr marL="1370744" indent="0">
              <a:buNone/>
              <a:defRPr sz="1600" b="1"/>
            </a:lvl4pPr>
            <a:lvl5pPr marL="1827657" indent="0">
              <a:buNone/>
              <a:defRPr sz="1600" b="1"/>
            </a:lvl5pPr>
            <a:lvl6pPr marL="2284572" indent="0">
              <a:buNone/>
              <a:defRPr sz="1600" b="1"/>
            </a:lvl6pPr>
            <a:lvl7pPr marL="2741486" indent="0">
              <a:buNone/>
              <a:defRPr sz="1600" b="1"/>
            </a:lvl7pPr>
            <a:lvl8pPr marL="3198400" indent="0">
              <a:buNone/>
              <a:defRPr sz="1600" b="1"/>
            </a:lvl8pPr>
            <a:lvl9pPr marL="36553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249FAA1-1824-4E28-9AB0-543617C6EC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316269"/>
            <a:ext cx="5183188" cy="387339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22896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vy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222A5EA9-E86D-8342-B5F4-5F5D21A691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9" y="0"/>
            <a:ext cx="12187944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E10B081-01C7-F14C-9DD4-55915E41B8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225" y="2707344"/>
            <a:ext cx="4851155" cy="1375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286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9F1C60-39B1-C84F-BE3D-CDA6C20E9C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581407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9F1C60-39B1-C84F-BE3D-CDA6C20E9C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1397FE-DEA1-6D44-9EA0-08CAF10EDF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367413"/>
            <a:ext cx="491157" cy="268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6081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1778F5C-7751-044E-9875-95293E6046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9" y="0"/>
            <a:ext cx="12187944" cy="6858000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EE64997-BA17-9648-8019-22C2774A6F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4225" y="2707341"/>
            <a:ext cx="4851155" cy="1375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0745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2DF316-7124-284A-B4F1-E3CF7FCF46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2B09B2A-351A-9944-9A3C-4FCB2EF57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41A372A-0557-4485-87B8-C635F3E8601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970990" y="6356352"/>
            <a:ext cx="491158" cy="365125"/>
          </a:xfrm>
        </p:spPr>
        <p:txBody>
          <a:bodyPr/>
          <a:lstStyle>
            <a:lvl1pPr algn="l">
              <a:defRPr/>
            </a:lvl1pPr>
          </a:lstStyle>
          <a:p>
            <a:pPr defTabSz="228573"/>
            <a:fld id="{9D1037FD-3ED2-7F49-A5A0-DA7E06EAD106}" type="slidenum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73"/>
              <a:t>‹#›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30658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- Two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74638"/>
            <a:ext cx="10970683" cy="61325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434" b="1" i="0" cap="none" baseline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en-US"/>
              <a:t>Click here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A699DD5-791B-EC44-B50F-F71D212A22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1166" y="805827"/>
            <a:ext cx="10970683" cy="401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B97EF7FD-AC07-4540-A7ED-A904090BB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08541" y="6525492"/>
            <a:ext cx="11637095" cy="23552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5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nsert source and / or footnotes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FE5919E-A27B-4DAD-97D3-C26841F270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AA25C10-0B41-4E3F-B1C8-2E3F2F437C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9" y="6367413"/>
            <a:ext cx="491157" cy="268579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AB453EE-4AC1-4248-983D-972F5350EA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40629"/>
            <a:ext cx="10515600" cy="47664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954635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&amp; Subtitle">
    <p:bg>
      <p:bgPr>
        <a:solidFill>
          <a:srgbClr val="F7F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9492" y="6540501"/>
            <a:ext cx="226667" cy="234951"/>
          </a:xfrm>
          <a:prstGeom prst="rect">
            <a:avLst/>
          </a:prstGeom>
        </p:spPr>
        <p:txBody>
          <a:bodyPr lIns="50800" tIns="50800" rIns="50800" bIns="50800" anchor="t"/>
          <a:lstStyle>
            <a:lvl1pPr algn="ctr" defTabSz="412740">
              <a:defRPr sz="12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418131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C719C4C-D150-4C74-7FE2-D62CECA777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2299" y="747"/>
            <a:ext cx="8959702" cy="67415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5027" y="237365"/>
            <a:ext cx="6930362" cy="651283"/>
          </a:xfrm>
        </p:spPr>
        <p:txBody>
          <a:bodyPr anchor="b"/>
          <a:lstStyle>
            <a:lvl1pPr>
              <a:spcBef>
                <a:spcPts val="0"/>
              </a:spcBef>
              <a:spcAft>
                <a:spcPts val="0"/>
              </a:spcAft>
              <a:defRPr sz="3199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41923" y="1736203"/>
            <a:ext cx="2243807" cy="4514941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tx2"/>
                </a:solidFill>
              </a:defRPr>
            </a:lvl1pPr>
            <a:lvl2pPr marL="457106" indent="0">
              <a:buNone/>
              <a:defRPr sz="1400"/>
            </a:lvl2pPr>
            <a:lvl3pPr marL="914211" indent="0">
              <a:buNone/>
              <a:defRPr sz="1200"/>
            </a:lvl3pPr>
            <a:lvl4pPr marL="1371317" indent="0">
              <a:buNone/>
              <a:defRPr sz="1000"/>
            </a:lvl4pPr>
            <a:lvl5pPr marL="1828422" indent="0">
              <a:buNone/>
              <a:defRPr sz="1000"/>
            </a:lvl5pPr>
            <a:lvl6pPr marL="2285528" indent="0">
              <a:buNone/>
              <a:defRPr sz="1000"/>
            </a:lvl6pPr>
            <a:lvl7pPr marL="2742633" indent="0">
              <a:buNone/>
              <a:defRPr sz="1000"/>
            </a:lvl7pPr>
            <a:lvl8pPr marL="3199739" indent="0">
              <a:buNone/>
              <a:defRPr sz="1000"/>
            </a:lvl8pPr>
            <a:lvl9pPr marL="365684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53628DD-4BEA-0D43-86F7-5AC3BE93C58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949FAE6-E6C0-098B-B839-7E89441EC76F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4425026" y="1022776"/>
            <a:ext cx="5734974" cy="713426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tx2"/>
                </a:solidFill>
              </a:defRPr>
            </a:lvl1pPr>
            <a:lvl2pPr marL="457106" indent="0">
              <a:buNone/>
              <a:defRPr sz="1400"/>
            </a:lvl2pPr>
            <a:lvl3pPr marL="914211" indent="0">
              <a:buNone/>
              <a:defRPr sz="1200"/>
            </a:lvl3pPr>
            <a:lvl4pPr marL="1371317" indent="0">
              <a:buNone/>
              <a:defRPr sz="1000"/>
            </a:lvl4pPr>
            <a:lvl5pPr marL="1828422" indent="0">
              <a:buNone/>
              <a:defRPr sz="1000"/>
            </a:lvl5pPr>
            <a:lvl6pPr marL="2285528" indent="0">
              <a:buNone/>
              <a:defRPr sz="1000"/>
            </a:lvl6pPr>
            <a:lvl7pPr marL="2742633" indent="0">
              <a:buNone/>
              <a:defRPr sz="1000"/>
            </a:lvl7pPr>
            <a:lvl8pPr marL="3199739" indent="0">
              <a:buNone/>
              <a:defRPr sz="1000"/>
            </a:lvl8pPr>
            <a:lvl9pPr marL="365684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65A6840-DC63-5DA7-33B8-E6A2D1F57ED2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4425026" y="2620859"/>
            <a:ext cx="3590444" cy="3630285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tx2"/>
                </a:solidFill>
              </a:defRPr>
            </a:lvl1pPr>
            <a:lvl2pPr marL="457106" indent="0">
              <a:buNone/>
              <a:defRPr sz="1400"/>
            </a:lvl2pPr>
            <a:lvl3pPr marL="914211" indent="0">
              <a:buNone/>
              <a:defRPr sz="1200"/>
            </a:lvl3pPr>
            <a:lvl4pPr marL="1371317" indent="0">
              <a:buNone/>
              <a:defRPr sz="1000"/>
            </a:lvl4pPr>
            <a:lvl5pPr marL="1828422" indent="0">
              <a:buNone/>
              <a:defRPr sz="1000"/>
            </a:lvl5pPr>
            <a:lvl6pPr marL="2285528" indent="0">
              <a:buNone/>
              <a:defRPr sz="1000"/>
            </a:lvl6pPr>
            <a:lvl7pPr marL="2742633" indent="0">
              <a:buNone/>
              <a:defRPr sz="1000"/>
            </a:lvl7pPr>
            <a:lvl8pPr marL="3199739" indent="0">
              <a:buNone/>
              <a:defRPr sz="1000"/>
            </a:lvl8pPr>
            <a:lvl9pPr marL="365684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C15F3B1-A794-8380-EA05-A209ECD56235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8689897" y="2620859"/>
            <a:ext cx="2615636" cy="3630285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chemeClr val="tx2"/>
                </a:solidFill>
              </a:defRPr>
            </a:lvl1pPr>
            <a:lvl2pPr marL="457106" indent="0">
              <a:buNone/>
              <a:defRPr sz="1400"/>
            </a:lvl2pPr>
            <a:lvl3pPr marL="914211" indent="0">
              <a:buNone/>
              <a:defRPr sz="1200"/>
            </a:lvl3pPr>
            <a:lvl4pPr marL="1371317" indent="0">
              <a:buNone/>
              <a:defRPr sz="1000"/>
            </a:lvl4pPr>
            <a:lvl5pPr marL="1828422" indent="0">
              <a:buNone/>
              <a:defRPr sz="1000"/>
            </a:lvl5pPr>
            <a:lvl6pPr marL="2285528" indent="0">
              <a:buNone/>
              <a:defRPr sz="1000"/>
            </a:lvl6pPr>
            <a:lvl7pPr marL="2742633" indent="0">
              <a:buNone/>
              <a:defRPr sz="1000"/>
            </a:lvl7pPr>
            <a:lvl8pPr marL="3199739" indent="0">
              <a:buNone/>
              <a:defRPr sz="1000"/>
            </a:lvl8pPr>
            <a:lvl9pPr marL="365684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008F1FF-14F7-0C62-6808-3DBEB8E38983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4425026" y="2165776"/>
            <a:ext cx="3590444" cy="455083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67" b="1">
                <a:solidFill>
                  <a:schemeClr val="bg2"/>
                </a:solidFill>
              </a:defRPr>
            </a:lvl1pPr>
            <a:lvl2pPr marL="457106" indent="0">
              <a:buNone/>
              <a:defRPr sz="1400"/>
            </a:lvl2pPr>
            <a:lvl3pPr marL="914211" indent="0">
              <a:buNone/>
              <a:defRPr sz="1200"/>
            </a:lvl3pPr>
            <a:lvl4pPr marL="1371317" indent="0">
              <a:buNone/>
              <a:defRPr sz="1000"/>
            </a:lvl4pPr>
            <a:lvl5pPr marL="1828422" indent="0">
              <a:buNone/>
              <a:defRPr sz="1000"/>
            </a:lvl5pPr>
            <a:lvl6pPr marL="2285528" indent="0">
              <a:buNone/>
              <a:defRPr sz="1000"/>
            </a:lvl6pPr>
            <a:lvl7pPr marL="2742633" indent="0">
              <a:buNone/>
              <a:defRPr sz="1000"/>
            </a:lvl7pPr>
            <a:lvl8pPr marL="3199739" indent="0">
              <a:buNone/>
              <a:defRPr sz="1000"/>
            </a:lvl8pPr>
            <a:lvl9pPr marL="365684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F98CDBB5-DEE1-A2C3-8042-BDD4D69FF458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689896" y="2165776"/>
            <a:ext cx="2615636" cy="455083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67" b="1">
                <a:solidFill>
                  <a:schemeClr val="accent3"/>
                </a:solidFill>
              </a:defRPr>
            </a:lvl1pPr>
            <a:lvl2pPr marL="457106" indent="0">
              <a:buNone/>
              <a:defRPr sz="1400"/>
            </a:lvl2pPr>
            <a:lvl3pPr marL="914211" indent="0">
              <a:buNone/>
              <a:defRPr sz="1200"/>
            </a:lvl3pPr>
            <a:lvl4pPr marL="1371317" indent="0">
              <a:buNone/>
              <a:defRPr sz="1000"/>
            </a:lvl4pPr>
            <a:lvl5pPr marL="1828422" indent="0">
              <a:buNone/>
              <a:defRPr sz="1000"/>
            </a:lvl5pPr>
            <a:lvl6pPr marL="2285528" indent="0">
              <a:buNone/>
              <a:defRPr sz="1000"/>
            </a:lvl6pPr>
            <a:lvl7pPr marL="2742633" indent="0">
              <a:buNone/>
              <a:defRPr sz="1000"/>
            </a:lvl7pPr>
            <a:lvl8pPr marL="3199739" indent="0">
              <a:buNone/>
              <a:defRPr sz="1000"/>
            </a:lvl8pPr>
            <a:lvl9pPr marL="365684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4420567"/>
      </p:ext>
    </p:extLst>
  </p:cSld>
  <p:clrMapOvr>
    <a:masterClrMapping/>
  </p:clrMapOvr>
  <p:hf sldNum="0"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5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5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321" y="916287"/>
            <a:ext cx="2792832" cy="79191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49F38C-0B23-402B-8788-FF8702A5D7D8}"/>
              </a:ext>
            </a:extLst>
          </p:cNvPr>
          <p:cNvSpPr txBox="1"/>
          <p:nvPr userDrawn="1"/>
        </p:nvSpPr>
        <p:spPr>
          <a:xfrm>
            <a:off x="0" y="6498393"/>
            <a:ext cx="6739637" cy="328343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2</a:t>
            </a:r>
            <a:r>
              <a:rPr lang="en-US" sz="1067" b="0" i="0" kern="1200" baseline="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1067" b="0" i="0" kern="1200">
                <a:solidFill>
                  <a:schemeClr val="bg1"/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5370980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Navy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Background pattern&#10;&#10;Description automatically generated">
            <a:extLst>
              <a:ext uri="{FF2B5EF4-FFF2-40B4-BE49-F238E27FC236}">
                <a16:creationId xmlns:a16="http://schemas.microsoft.com/office/drawing/2014/main" id="{76D16844-6333-3E4A-AF87-E77C05853F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5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5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239EE7-2778-0244-92FA-E41B459518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87321" y="916944"/>
            <a:ext cx="2792832" cy="7906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D49F38C-0B23-402B-8788-FF8702A5D7D8}"/>
              </a:ext>
            </a:extLst>
          </p:cNvPr>
          <p:cNvSpPr txBox="1"/>
          <p:nvPr userDrawn="1"/>
        </p:nvSpPr>
        <p:spPr>
          <a:xfrm>
            <a:off x="80742" y="6508714"/>
            <a:ext cx="6739637" cy="307697"/>
          </a:xfrm>
          <a:prstGeom prst="rect">
            <a:avLst/>
          </a:prstGeom>
          <a:noFill/>
        </p:spPr>
        <p:txBody>
          <a:bodyPr wrap="square" lIns="162545" tIns="81272" rIns="162545" bIns="81272" rtlCol="0" anchor="ctr">
            <a:spAutoFit/>
          </a:bodyPr>
          <a:lstStyle/>
          <a:p>
            <a:r>
              <a:rPr lang="en-US" sz="933" b="0" i="0" kern="1200">
                <a:solidFill>
                  <a:schemeClr val="accent3">
                    <a:lumMod val="20000"/>
                    <a:lumOff val="80000"/>
                  </a:schemeClr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2023</a:t>
            </a:r>
            <a:r>
              <a:rPr lang="en-US" sz="933" b="0" i="0" kern="1200" baseline="0">
                <a:solidFill>
                  <a:schemeClr val="accent3">
                    <a:lumMod val="20000"/>
                    <a:lumOff val="80000"/>
                  </a:schemeClr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 </a:t>
            </a:r>
            <a:r>
              <a:rPr lang="en-US" sz="933" b="0" i="0" kern="1200">
                <a:solidFill>
                  <a:schemeClr val="accent3">
                    <a:lumMod val="20000"/>
                    <a:lumOff val="80000"/>
                  </a:schemeClr>
                </a:solidFill>
                <a:effectLst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World Wide Technology, Inc. All rights reserved.</a:t>
            </a:r>
          </a:p>
        </p:txBody>
      </p:sp>
      <p:pic>
        <p:nvPicPr>
          <p:cNvPr id="1026" name="Picture 2" descr="London Stock Exchange Starts $2.5 Billion European Bond Sale - Bloomberg">
            <a:extLst>
              <a:ext uri="{FF2B5EF4-FFF2-40B4-BE49-F238E27FC236}">
                <a16:creationId xmlns:a16="http://schemas.microsoft.com/office/drawing/2014/main" id="{040F2F20-17AE-CDF6-63F7-8FB6D4A36ED0}"/>
              </a:ext>
            </a:extLst>
          </p:cNvPr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047978" y="1708203"/>
            <a:ext cx="5141993" cy="5149797"/>
          </a:xfrm>
          <a:prstGeom prst="rtTriangle">
            <a:avLst/>
          </a:prstGeom>
          <a:gradFill>
            <a:gsLst>
              <a:gs pos="90000">
                <a:schemeClr val="accent1">
                  <a:alpha val="56000"/>
                </a:schemeClr>
              </a:gs>
              <a:gs pos="52000">
                <a:srgbClr val="1C0087">
                  <a:alpha val="40000"/>
                </a:srgbClr>
              </a:gs>
              <a:gs pos="16000">
                <a:srgbClr val="0086EA">
                  <a:alpha val="40000"/>
                </a:srgbClr>
              </a:gs>
            </a:gsLst>
            <a:lin ang="2700000" scaled="0"/>
          </a:gradFill>
        </p:spPr>
      </p:pic>
      <p:sp>
        <p:nvSpPr>
          <p:cNvPr id="8" name="Rectangle 13">
            <a:extLst>
              <a:ext uri="{FF2B5EF4-FFF2-40B4-BE49-F238E27FC236}">
                <a16:creationId xmlns:a16="http://schemas.microsoft.com/office/drawing/2014/main" id="{B9636915-8C5A-99FB-AC75-37DBD874C852}"/>
              </a:ext>
            </a:extLst>
          </p:cNvPr>
          <p:cNvSpPr/>
          <p:nvPr/>
        </p:nvSpPr>
        <p:spPr>
          <a:xfrm flipH="1">
            <a:off x="7050008" y="1708203"/>
            <a:ext cx="5141993" cy="5163903"/>
          </a:xfrm>
          <a:custGeom>
            <a:avLst/>
            <a:gdLst>
              <a:gd name="connsiteX0" fmla="*/ 0 w 4734561"/>
              <a:gd name="connsiteY0" fmla="*/ 3872927 h 3872927"/>
              <a:gd name="connsiteX1" fmla="*/ 0 w 4734561"/>
              <a:gd name="connsiteY1" fmla="*/ 0 h 3872927"/>
              <a:gd name="connsiteX2" fmla="*/ 4734561 w 4734561"/>
              <a:gd name="connsiteY2" fmla="*/ 3872927 h 3872927"/>
              <a:gd name="connsiteX3" fmla="*/ 0 w 4734561"/>
              <a:gd name="connsiteY3" fmla="*/ 3872927 h 3872927"/>
              <a:gd name="connsiteX0" fmla="*/ 0 w 3856495"/>
              <a:gd name="connsiteY0" fmla="*/ 3872927 h 3872927"/>
              <a:gd name="connsiteX1" fmla="*/ 0 w 3856495"/>
              <a:gd name="connsiteY1" fmla="*/ 0 h 3872927"/>
              <a:gd name="connsiteX2" fmla="*/ 3856495 w 3856495"/>
              <a:gd name="connsiteY2" fmla="*/ 3872927 h 3872927"/>
              <a:gd name="connsiteX3" fmla="*/ 0 w 3856495"/>
              <a:gd name="connsiteY3" fmla="*/ 3872927 h 38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56495" h="3872927">
                <a:moveTo>
                  <a:pt x="0" y="3872927"/>
                </a:moveTo>
                <a:lnTo>
                  <a:pt x="0" y="0"/>
                </a:lnTo>
                <a:lnTo>
                  <a:pt x="3856495" y="3872927"/>
                </a:lnTo>
                <a:lnTo>
                  <a:pt x="0" y="3872927"/>
                </a:lnTo>
                <a:close/>
              </a:path>
            </a:pathLst>
          </a:custGeom>
          <a:gradFill>
            <a:gsLst>
              <a:gs pos="90000">
                <a:srgbClr val="EE282A">
                  <a:alpha val="56460"/>
                </a:srgbClr>
              </a:gs>
              <a:gs pos="52000">
                <a:srgbClr val="1C0087">
                  <a:alpha val="40000"/>
                </a:srgbClr>
              </a:gs>
              <a:gs pos="16000">
                <a:srgbClr val="0086EA">
                  <a:alpha val="4000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B74661-2E1D-1AF8-8139-6AA43F4C22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049" t="26217" r="10674" b="25917"/>
          <a:stretch/>
        </p:blipFill>
        <p:spPr>
          <a:xfrm>
            <a:off x="8334642" y="5669709"/>
            <a:ext cx="3639127" cy="992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8120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89367CF1-C3C7-2D4C-A2D2-5B88DF7DF5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8" y="0"/>
            <a:ext cx="1218794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525" y="1854201"/>
            <a:ext cx="7375649" cy="1655763"/>
          </a:xfrm>
        </p:spPr>
        <p:txBody>
          <a:bodyPr anchor="b">
            <a:noAutofit/>
          </a:bodyPr>
          <a:lstStyle>
            <a:lvl1pPr algn="l">
              <a:spcBef>
                <a:spcPts val="0"/>
              </a:spcBef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525" y="3602037"/>
            <a:ext cx="7375649" cy="165576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101D0B9-07EA-7049-99D4-264D289D3B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321" y="916284"/>
            <a:ext cx="2792832" cy="791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1FEECE-7340-4D1D-844B-E497A8CBD6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duotone>
              <a:prstClr val="black"/>
              <a:schemeClr val="accent4">
                <a:tint val="45000"/>
                <a:satMod val="400000"/>
              </a:schemeClr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797"/>
          <a:stretch/>
        </p:blipFill>
        <p:spPr>
          <a:xfrm>
            <a:off x="3695816" y="935803"/>
            <a:ext cx="2575833" cy="611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4272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2" y="1571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8"/>
            <a:ext cx="10515600" cy="130630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9017C11-1086-6B49-95E7-3ED01C56F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49208" y="5156192"/>
            <a:ext cx="2293584" cy="50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3214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2" y="1571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7"/>
            <a:ext cx="10515600" cy="1741972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96636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A81EC3-3628-AA4C-9DE8-5FE7BBB93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075753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EA81EC3-3628-AA4C-9DE8-5FE7BBB93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4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258920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break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198C4F2-B7A3-964A-B48C-FCAC7BAAB1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2" y="1571"/>
            <a:ext cx="12184841" cy="68548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598072"/>
            <a:ext cx="10515600" cy="1500187"/>
          </a:xfrm>
        </p:spPr>
        <p:txBody>
          <a:bodyPr anchor="b">
            <a:noAutofit/>
          </a:bodyPr>
          <a:lstStyle>
            <a:lvl1pPr algn="ctr">
              <a:spcBef>
                <a:spcPts val="0"/>
              </a:spcBef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3319127"/>
            <a:ext cx="10515600" cy="1741972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16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large building with a flag on top&#10;&#10;Description automatically generated with low confidence">
            <a:extLst>
              <a:ext uri="{FF2B5EF4-FFF2-40B4-BE49-F238E27FC236}">
                <a16:creationId xmlns:a16="http://schemas.microsoft.com/office/drawing/2014/main" id="{2836FE16-5884-A145-25F0-7EA8B4319F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" r="7123" b="-1"/>
          <a:stretch/>
        </p:blipFill>
        <p:spPr>
          <a:xfrm>
            <a:off x="1" y="1"/>
            <a:ext cx="12184841" cy="68548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BCA2359-6629-2930-3D90-2D62B65ECB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7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581" y="-1569"/>
            <a:ext cx="12184841" cy="68812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CF4F479-5C7D-DC46-1536-A7AAE95DC9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F62022C8-A1A8-5570-8682-05C17D9E6F1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7138" y="6116758"/>
            <a:ext cx="1416796" cy="762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154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5E871A-287F-4448-96C3-7B18B6F646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8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Whit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190049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 with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66319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D6D75FD-F495-4632-BF15-D50E50A196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10514"/>
            <a:ext cx="10515600" cy="4766452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6"/>
            <a:ext cx="12192000" cy="9386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F4BD3ACA-C117-411C-8E74-3B99730687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811921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708D89-33CF-4A1F-8918-F9DE3D28E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988523"/>
            <a:ext cx="10515709" cy="377048"/>
          </a:xfrm>
        </p:spPr>
        <p:txBody>
          <a:bodyPr/>
          <a:lstStyle>
            <a:lvl1pPr marL="0" indent="0">
              <a:buNone/>
              <a:defRPr sz="1800" b="1"/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72775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690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1397FE-DEA1-6D44-9EA0-08CAF10EDF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95"/>
          <a:stretch/>
        </p:blipFill>
        <p:spPr>
          <a:xfrm>
            <a:off x="11462148" y="6367413"/>
            <a:ext cx="491157" cy="268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9431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with gray background and tr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Bef>
                <a:spcPts val="0"/>
              </a:spcBef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540740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5C98F7E-3FA1-1346-A67F-6D0B91EF3D6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130062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emphasis and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29AE693-0ABA-5647-A79F-DDC42B3BACDD}"/>
              </a:ext>
            </a:extLst>
          </p:cNvPr>
          <p:cNvSpPr/>
          <p:nvPr userDrawn="1"/>
        </p:nvSpPr>
        <p:spPr>
          <a:xfrm>
            <a:off x="7367407" y="0"/>
            <a:ext cx="4824596" cy="6858000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F6B654F-7607-164C-B90F-ECC0DCBCAA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64133"/>
            <a:ext cx="12192000" cy="93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641572"/>
            <a:ext cx="6220899" cy="54770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446032"/>
            <a:ext cx="6220899" cy="490160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000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945D0D9-27D2-CA48-8163-FBAAD2C965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3" y="287080"/>
            <a:ext cx="6221287" cy="354271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rgbClr val="0086EA"/>
                </a:solidFill>
              </a:defRPr>
            </a:lvl2pPr>
            <a:lvl3pPr>
              <a:buNone/>
              <a:defRPr>
                <a:solidFill>
                  <a:srgbClr val="0086EA"/>
                </a:solidFill>
              </a:defRPr>
            </a:lvl3pPr>
            <a:lvl4pPr>
              <a:buNone/>
              <a:defRPr>
                <a:solidFill>
                  <a:srgbClr val="0086EA"/>
                </a:solidFill>
              </a:defRPr>
            </a:lvl4pPr>
            <a:lvl5pPr>
              <a:buNone/>
              <a:defRPr>
                <a:solidFill>
                  <a:srgbClr val="0086E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D566892-ABAA-3644-BCA7-29EF96D03456}"/>
              </a:ext>
            </a:extLst>
          </p:cNvPr>
          <p:cNvSpPr>
            <a:spLocks noGrp="1" noChangeAspect="1"/>
          </p:cNvSpPr>
          <p:nvPr>
            <p:ph type="pic" idx="11"/>
          </p:nvPr>
        </p:nvSpPr>
        <p:spPr>
          <a:xfrm>
            <a:off x="7367019" y="0"/>
            <a:ext cx="4824596" cy="342900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627C85-413D-F64C-8CB0-0E4D343755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03281" y="3667922"/>
            <a:ext cx="3952064" cy="2679719"/>
          </a:xfr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900">
                <a:solidFill>
                  <a:srgbClr val="505050"/>
                </a:solidFill>
              </a:defRPr>
            </a:lvl3pPr>
            <a:lvl4pPr>
              <a:defRPr sz="800">
                <a:solidFill>
                  <a:srgbClr val="505050"/>
                </a:solidFill>
              </a:defRPr>
            </a:lvl4pPr>
            <a:lvl5pPr>
              <a:defRPr sz="800">
                <a:solidFill>
                  <a:srgbClr val="50505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65598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26" Type="http://schemas.openxmlformats.org/officeDocument/2006/relationships/slideLayout" Target="../slideLayouts/slideLayout220.xml"/><Relationship Id="rId39" Type="http://schemas.openxmlformats.org/officeDocument/2006/relationships/slideLayout" Target="../slideLayouts/slideLayout233.xml"/><Relationship Id="rId21" Type="http://schemas.openxmlformats.org/officeDocument/2006/relationships/slideLayout" Target="../slideLayouts/slideLayout215.xml"/><Relationship Id="rId34" Type="http://schemas.openxmlformats.org/officeDocument/2006/relationships/slideLayout" Target="../slideLayouts/slideLayout228.xml"/><Relationship Id="rId42" Type="http://schemas.openxmlformats.org/officeDocument/2006/relationships/slideLayout" Target="../slideLayouts/slideLayout236.xml"/><Relationship Id="rId47" Type="http://schemas.openxmlformats.org/officeDocument/2006/relationships/slideLayout" Target="../slideLayouts/slideLayout241.xml"/><Relationship Id="rId50" Type="http://schemas.openxmlformats.org/officeDocument/2006/relationships/theme" Target="../theme/theme10.xml"/><Relationship Id="rId7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9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05.xml"/><Relationship Id="rId24" Type="http://schemas.openxmlformats.org/officeDocument/2006/relationships/slideLayout" Target="../slideLayouts/slideLayout218.xml"/><Relationship Id="rId32" Type="http://schemas.openxmlformats.org/officeDocument/2006/relationships/slideLayout" Target="../slideLayouts/slideLayout226.xml"/><Relationship Id="rId37" Type="http://schemas.openxmlformats.org/officeDocument/2006/relationships/slideLayout" Target="../slideLayouts/slideLayout231.xml"/><Relationship Id="rId40" Type="http://schemas.openxmlformats.org/officeDocument/2006/relationships/slideLayout" Target="../slideLayouts/slideLayout234.xml"/><Relationship Id="rId45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9.xml"/><Relationship Id="rId23" Type="http://schemas.openxmlformats.org/officeDocument/2006/relationships/slideLayout" Target="../slideLayouts/slideLayout217.xml"/><Relationship Id="rId28" Type="http://schemas.openxmlformats.org/officeDocument/2006/relationships/slideLayout" Target="../slideLayouts/slideLayout222.xml"/><Relationship Id="rId36" Type="http://schemas.openxmlformats.org/officeDocument/2006/relationships/slideLayout" Target="../slideLayouts/slideLayout230.xml"/><Relationship Id="rId49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213.xml"/><Relationship Id="rId31" Type="http://schemas.openxmlformats.org/officeDocument/2006/relationships/slideLayout" Target="../slideLayouts/slideLayout225.xml"/><Relationship Id="rId44" Type="http://schemas.openxmlformats.org/officeDocument/2006/relationships/slideLayout" Target="../slideLayouts/slideLayout238.xml"/><Relationship Id="rId52" Type="http://schemas.openxmlformats.org/officeDocument/2006/relationships/image" Target="../media/image103.svg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216.xml"/><Relationship Id="rId27" Type="http://schemas.openxmlformats.org/officeDocument/2006/relationships/slideLayout" Target="../slideLayouts/slideLayout221.xml"/><Relationship Id="rId30" Type="http://schemas.openxmlformats.org/officeDocument/2006/relationships/slideLayout" Target="../slideLayouts/slideLayout224.xml"/><Relationship Id="rId35" Type="http://schemas.openxmlformats.org/officeDocument/2006/relationships/slideLayout" Target="../slideLayouts/slideLayout229.xml"/><Relationship Id="rId43" Type="http://schemas.openxmlformats.org/officeDocument/2006/relationships/slideLayout" Target="../slideLayouts/slideLayout237.xml"/><Relationship Id="rId48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202.xml"/><Relationship Id="rId51" Type="http://schemas.openxmlformats.org/officeDocument/2006/relationships/image" Target="../media/image102.png"/><Relationship Id="rId3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5" Type="http://schemas.openxmlformats.org/officeDocument/2006/relationships/slideLayout" Target="../slideLayouts/slideLayout219.xml"/><Relationship Id="rId33" Type="http://schemas.openxmlformats.org/officeDocument/2006/relationships/slideLayout" Target="../slideLayouts/slideLayout227.xml"/><Relationship Id="rId38" Type="http://schemas.openxmlformats.org/officeDocument/2006/relationships/slideLayout" Target="../slideLayouts/slideLayout232.xml"/><Relationship Id="rId46" Type="http://schemas.openxmlformats.org/officeDocument/2006/relationships/slideLayout" Target="../slideLayouts/slideLayout240.xml"/><Relationship Id="rId20" Type="http://schemas.openxmlformats.org/officeDocument/2006/relationships/slideLayout" Target="../slideLayouts/slideLayout214.xml"/><Relationship Id="rId41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29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31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1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slideLayout" Target="../slideLayouts/slideLayout140.xml"/><Relationship Id="rId3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29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slideLayout" Target="../slideLayouts/slideLayout139.xml"/><Relationship Id="rId32" Type="http://schemas.openxmlformats.org/officeDocument/2006/relationships/slideLayout" Target="../slideLayouts/slideLayout147.xml"/><Relationship Id="rId37" Type="http://schemas.openxmlformats.org/officeDocument/2006/relationships/theme" Target="../theme/theme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slideLayout" Target="../slideLayouts/slideLayout138.xml"/><Relationship Id="rId28" Type="http://schemas.openxmlformats.org/officeDocument/2006/relationships/slideLayout" Target="../slideLayouts/slideLayout143.xml"/><Relationship Id="rId36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31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Relationship Id="rId27" Type="http://schemas.openxmlformats.org/officeDocument/2006/relationships/slideLayout" Target="../slideLayouts/slideLayout142.xml"/><Relationship Id="rId30" Type="http://schemas.openxmlformats.org/officeDocument/2006/relationships/slideLayout" Target="../slideLayouts/slideLayout145.xml"/><Relationship Id="rId35" Type="http://schemas.openxmlformats.org/officeDocument/2006/relationships/slideLayout" Target="../slideLayouts/slideLayout150.xml"/><Relationship Id="rId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1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image" Target="../media/image14.emf"/><Relationship Id="rId3" Type="http://schemas.openxmlformats.org/officeDocument/2006/relationships/slideLayout" Target="../slideLayouts/slideLayout154.xml"/><Relationship Id="rId21" Type="http://schemas.openxmlformats.org/officeDocument/2006/relationships/tags" Target="../tags/tag2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image" Target="../media/image13.png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image" Target="../media/image92.emf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oleObject" Target="../embeddings/oleObject22.bin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tags" Target="../tags/tag2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73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0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tags" Target="../tags/tag4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1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46D09B4-5CCE-6045-83FD-40224B8FA8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945472285"/>
              </p:ext>
            </p:extLst>
          </p:nvPr>
        </p:nvGraphicFramePr>
        <p:xfrm>
          <a:off x="794" y="794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7772400" imgH="10058400" progId="TCLayout.ActiveDocument.1">
                  <p:embed/>
                </p:oleObj>
              </mc:Choice>
              <mc:Fallback>
                <p:oleObj name="think-cell Slide" r:id="rId2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46D09B4-5CCE-6045-83FD-40224B8FA8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7ED53-A5FA-8D4F-ADCE-5DCCB6311998}" type="datetimeFigureOut">
              <a:rPr lang="en-US" smtClean="0"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1037FD-3ED2-7F49-A5A0-DA7E06EAD10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146D641-521F-073B-44A1-B55EDA3131E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39968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  <p:sldLayoutId id="2147483948" r:id="rId21"/>
    <p:sldLayoutId id="2147483949" r:id="rId22"/>
  </p:sldLayoutIdLst>
  <p:txStyles>
    <p:titleStyle>
      <a:lvl1pPr algn="l" defTabSz="914217" rtl="0" eaLnBrk="1" latinLnBrk="0" hangingPunct="1">
        <a:lnSpc>
          <a:spcPct val="100000"/>
        </a:lnSpc>
        <a:spcBef>
          <a:spcPct val="0"/>
        </a:spcBef>
        <a:buNone/>
        <a:defRPr sz="3299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b="1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663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771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150000"/>
        <a:buFont typeface="System Font Regular"/>
        <a:buChar char="-"/>
        <a:defRPr sz="16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9880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6989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3E5826-E261-5240-BCCC-F517FDB6EBB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 dirty="0">
                <a:solidFill>
                  <a:schemeClr val="tx1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4  Cisco and/or its affiliates. All rights reserved.   Cisco Confidential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63804D0-1B5B-924C-8995-DA787F4942D5}"/>
              </a:ext>
            </a:extLst>
          </p:cNvPr>
          <p:cNvPicPr>
            <a:picLocks noChangeAspect="1"/>
          </p:cNvPicPr>
          <p:nvPr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21F2830-F0A3-2EAC-C709-5C928A8C4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55BE63C-8C0C-FC75-3DF2-F8F96A3C87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409700"/>
            <a:ext cx="10972799" cy="4724400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E834E4-C4A8-7C7B-92A4-83CCEE44572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29904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463" r:id="rId1"/>
    <p:sldLayoutId id="2147485464" r:id="rId2"/>
    <p:sldLayoutId id="2147485465" r:id="rId3"/>
    <p:sldLayoutId id="2147485466" r:id="rId4"/>
    <p:sldLayoutId id="2147485467" r:id="rId5"/>
    <p:sldLayoutId id="2147485468" r:id="rId6"/>
    <p:sldLayoutId id="2147485469" r:id="rId7"/>
    <p:sldLayoutId id="2147485470" r:id="rId8"/>
    <p:sldLayoutId id="2147485471" r:id="rId9"/>
    <p:sldLayoutId id="2147485472" r:id="rId10"/>
    <p:sldLayoutId id="2147485473" r:id="rId11"/>
    <p:sldLayoutId id="2147485474" r:id="rId12"/>
    <p:sldLayoutId id="2147485475" r:id="rId13"/>
    <p:sldLayoutId id="2147485476" r:id="rId14"/>
    <p:sldLayoutId id="2147485477" r:id="rId15"/>
    <p:sldLayoutId id="2147485478" r:id="rId16"/>
    <p:sldLayoutId id="2147485479" r:id="rId17"/>
    <p:sldLayoutId id="2147485480" r:id="rId18"/>
    <p:sldLayoutId id="2147485481" r:id="rId19"/>
    <p:sldLayoutId id="2147485482" r:id="rId20"/>
    <p:sldLayoutId id="2147485483" r:id="rId21"/>
    <p:sldLayoutId id="2147485484" r:id="rId22"/>
    <p:sldLayoutId id="2147485485" r:id="rId23"/>
    <p:sldLayoutId id="2147485486" r:id="rId24"/>
    <p:sldLayoutId id="2147485487" r:id="rId25"/>
    <p:sldLayoutId id="2147485488" r:id="rId26"/>
    <p:sldLayoutId id="2147485489" r:id="rId27"/>
    <p:sldLayoutId id="2147485490" r:id="rId28"/>
    <p:sldLayoutId id="2147485491" r:id="rId29"/>
    <p:sldLayoutId id="2147485492" r:id="rId30"/>
    <p:sldLayoutId id="2147485493" r:id="rId31"/>
    <p:sldLayoutId id="2147485494" r:id="rId32"/>
    <p:sldLayoutId id="2147485495" r:id="rId33"/>
    <p:sldLayoutId id="2147485496" r:id="rId34"/>
    <p:sldLayoutId id="2147485497" r:id="rId35"/>
    <p:sldLayoutId id="2147485498" r:id="rId36"/>
    <p:sldLayoutId id="2147485499" r:id="rId37"/>
    <p:sldLayoutId id="2147485500" r:id="rId38"/>
    <p:sldLayoutId id="2147485501" r:id="rId39"/>
    <p:sldLayoutId id="2147485502" r:id="rId40"/>
    <p:sldLayoutId id="2147485503" r:id="rId41"/>
    <p:sldLayoutId id="2147485504" r:id="rId42"/>
    <p:sldLayoutId id="2147485505" r:id="rId43"/>
    <p:sldLayoutId id="2147485506" r:id="rId44"/>
    <p:sldLayoutId id="2147485507" r:id="rId45"/>
    <p:sldLayoutId id="2147485508" r:id="rId46"/>
    <p:sldLayoutId id="2147485509" r:id="rId47"/>
    <p:sldLayoutId id="2147485510" r:id="rId48"/>
    <p:sldLayoutId id="2147485511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bg1"/>
          </a:solidFill>
          <a:latin typeface="+mj-lt"/>
          <a:ea typeface="CiscoSansTT Thin" charset="0"/>
          <a:cs typeface="CiscoSansTT Thin" charset="0"/>
        </a:defRPr>
      </a:lvl1pPr>
      <a:lvl2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79"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60"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40"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18"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7" indent="-226477" algn="l" defTabSz="912253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Tx/>
        <a:buSzPct val="90000"/>
        <a:buFont typeface="Arial" charset="0"/>
        <a:buChar char="•"/>
        <a:defRPr lang="en-US" sz="2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57189" indent="-227008" algn="l" defTabSz="912253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Tx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69899" indent="-230182" algn="l" defTabSz="91225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ClrTx/>
        <a:buFont typeface="Arial" charset="0"/>
        <a:buChar char="•"/>
        <a:defRPr lang="en-US" sz="18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87371" indent="-230182" algn="l" defTabSz="91225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ClrTx/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801668" indent="-231769" algn="l" defTabSz="91225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ClrTx/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0" indent="-228586" algn="l" defTabSz="91434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50" indent="-228556" algn="l" defTabSz="914340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187" indent="0" algn="l" defTabSz="91434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2" indent="-228586" algn="l" defTabSz="91434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0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8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9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6" pos="3835">
          <p15:clr>
            <a:srgbClr val="F26B43"/>
          </p15:clr>
        </p15:guide>
        <p15:guide id="9" orient="horz" pos="3864">
          <p15:clr>
            <a:srgbClr val="F26B43"/>
          </p15:clr>
        </p15:guide>
        <p15:guide id="10" orient="horz" pos="240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672">
          <p15:clr>
            <a:srgbClr val="F26B43"/>
          </p15:clr>
        </p15:guide>
        <p15:guide id="13" orient="horz" pos="8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</a:t>
            </a:r>
            <a:r>
              <a:rPr lang="en-US" err="1"/>
              <a:t>leveld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7DA7ED53-A5FA-8D4F-ADCE-5DCCB6311998}" type="datetimeFigureOut">
              <a:rPr lang="en-US" smtClean="0"/>
              <a:pPr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9D1037FD-3ED2-7F49-A5A0-DA7E06EAD1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48DADD-665C-A225-3D7B-75DABD7891B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32681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47" r:id="rId12"/>
    <p:sldLayoutId id="2147484148" r:id="rId13"/>
    <p:sldLayoutId id="2147484149" r:id="rId14"/>
    <p:sldLayoutId id="2147484150" r:id="rId15"/>
    <p:sldLayoutId id="2147484151" r:id="rId16"/>
    <p:sldLayoutId id="2147484152" r:id="rId17"/>
    <p:sldLayoutId id="2147484153" r:id="rId18"/>
    <p:sldLayoutId id="2147484154" r:id="rId19"/>
    <p:sldLayoutId id="2147484155" r:id="rId20"/>
    <p:sldLayoutId id="2147484156" r:id="rId21"/>
    <p:sldLayoutId id="2147484158" r:id="rId22"/>
    <p:sldLayoutId id="2147484159" r:id="rId23"/>
    <p:sldLayoutId id="2147484160" r:id="rId24"/>
  </p:sldLayoutIdLst>
  <p:txStyles>
    <p:titleStyle>
      <a:lvl1pPr algn="l" defTabSz="914217" rtl="0" eaLnBrk="1" latinLnBrk="0" hangingPunct="1">
        <a:lnSpc>
          <a:spcPct val="100000"/>
        </a:lnSpc>
        <a:spcBef>
          <a:spcPct val="0"/>
        </a:spcBef>
        <a:buNone/>
        <a:defRPr sz="3299" b="0" i="0" kern="1200">
          <a:solidFill>
            <a:srgbClr val="333333"/>
          </a:solidFill>
          <a:latin typeface="Roboto Black" panose="02000000000000000000" pitchFamily="2" charset="0"/>
          <a:ea typeface="Roboto Black" panose="02000000000000000000" pitchFamily="2" charset="0"/>
          <a:cs typeface="Arial" panose="020B0604020202020204" pitchFamily="34" charset="0"/>
        </a:defRPr>
      </a:lvl1pPr>
    </p:titleStyle>
    <p:bodyStyle>
      <a:lvl1pPr marL="228554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1pPr>
      <a:lvl2pPr marL="685663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2pPr>
      <a:lvl3pPr marL="1142771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3pPr>
      <a:lvl4pPr marL="1599880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4pPr>
      <a:lvl5pPr marL="2056989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</a:t>
            </a:r>
            <a:r>
              <a:rPr lang="en-US" err="1"/>
              <a:t>leveld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7DA7ED53-A5FA-8D4F-ADCE-5DCCB6311998}" type="datetimeFigureOut">
              <a:rPr lang="en-US" smtClean="0"/>
              <a:pPr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9D1037FD-3ED2-7F49-A5A0-DA7E06EAD1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4EE92B-4064-A01D-CECA-3A5D62FCF7E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56503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5" r:id="rId1"/>
    <p:sldLayoutId id="2147484186" r:id="rId2"/>
    <p:sldLayoutId id="2147484187" r:id="rId3"/>
    <p:sldLayoutId id="2147484188" r:id="rId4"/>
    <p:sldLayoutId id="2147484189" r:id="rId5"/>
    <p:sldLayoutId id="2147484190" r:id="rId6"/>
    <p:sldLayoutId id="2147484191" r:id="rId7"/>
    <p:sldLayoutId id="2147484192" r:id="rId8"/>
    <p:sldLayoutId id="2147484193" r:id="rId9"/>
    <p:sldLayoutId id="2147484194" r:id="rId10"/>
    <p:sldLayoutId id="2147484195" r:id="rId11"/>
    <p:sldLayoutId id="2147484196" r:id="rId12"/>
    <p:sldLayoutId id="2147484197" r:id="rId13"/>
    <p:sldLayoutId id="2147484198" r:id="rId14"/>
    <p:sldLayoutId id="2147484199" r:id="rId15"/>
    <p:sldLayoutId id="2147484200" r:id="rId16"/>
    <p:sldLayoutId id="2147484201" r:id="rId17"/>
    <p:sldLayoutId id="2147484202" r:id="rId18"/>
    <p:sldLayoutId id="2147484203" r:id="rId19"/>
    <p:sldLayoutId id="2147484204" r:id="rId20"/>
    <p:sldLayoutId id="2147484205" r:id="rId21"/>
    <p:sldLayoutId id="2147484206" r:id="rId22"/>
    <p:sldLayoutId id="2147484207" r:id="rId23"/>
    <p:sldLayoutId id="2147484208" r:id="rId24"/>
  </p:sldLayoutIdLst>
  <p:txStyles>
    <p:titleStyle>
      <a:lvl1pPr algn="l" defTabSz="914217" rtl="0" eaLnBrk="1" latinLnBrk="0" hangingPunct="1">
        <a:lnSpc>
          <a:spcPct val="100000"/>
        </a:lnSpc>
        <a:spcBef>
          <a:spcPct val="0"/>
        </a:spcBef>
        <a:buNone/>
        <a:defRPr sz="3299" b="0" i="0" kern="1200">
          <a:solidFill>
            <a:srgbClr val="333333"/>
          </a:solidFill>
          <a:latin typeface="Roboto Black" panose="02000000000000000000" pitchFamily="2" charset="0"/>
          <a:ea typeface="Roboto Black" panose="02000000000000000000" pitchFamily="2" charset="0"/>
          <a:cs typeface="Arial" panose="020B0604020202020204" pitchFamily="34" charset="0"/>
        </a:defRPr>
      </a:lvl1pPr>
    </p:titleStyle>
    <p:bodyStyle>
      <a:lvl1pPr marL="228554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1pPr>
      <a:lvl2pPr marL="685663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2pPr>
      <a:lvl3pPr marL="1142771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3pPr>
      <a:lvl4pPr marL="1599880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4pPr>
      <a:lvl5pPr marL="2056989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40629"/>
            <a:ext cx="10515600" cy="4766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fld id="{7DA7ED53-A5FA-8D4F-ADCE-5DCCB6311998}" type="datetimeFigureOut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73"/>
              <a:t>10/3/2024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fld id="{9D1037FD-3ED2-7F49-A5A0-DA7E06EAD106}" type="slidenum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73"/>
              <a:t>‹#›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923061-D653-A622-B617-25BF645A4AB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77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17" r:id="rId2"/>
    <p:sldLayoutId id="2147485218" r:id="rId3"/>
    <p:sldLayoutId id="2147485219" r:id="rId4"/>
    <p:sldLayoutId id="2147485220" r:id="rId5"/>
    <p:sldLayoutId id="2147485221" r:id="rId6"/>
    <p:sldLayoutId id="2147485223" r:id="rId7"/>
    <p:sldLayoutId id="2147485224" r:id="rId8"/>
    <p:sldLayoutId id="2147485225" r:id="rId9"/>
    <p:sldLayoutId id="2147485226" r:id="rId10"/>
    <p:sldLayoutId id="2147485227" r:id="rId11"/>
    <p:sldLayoutId id="2147485229" r:id="rId12"/>
    <p:sldLayoutId id="2147485230" r:id="rId13"/>
    <p:sldLayoutId id="2147485231" r:id="rId14"/>
  </p:sldLayoutIdLst>
  <p:txStyles>
    <p:titleStyle>
      <a:lvl1pPr algn="l" defTabSz="914286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67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18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67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869" indent="-228584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ꟷ"/>
        <a:defRPr sz="1867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000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143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286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0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3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8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8119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84"/>
            <a:fld id="{7DA7ED53-A5FA-8D4F-ADCE-5DCCB6311998}" type="datetimeFigureOut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84"/>
              <a:t>10/3/2024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84"/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84"/>
            <a:fld id="{9D1037FD-3ED2-7F49-A5A0-DA7E06EAD106}" type="slidenum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84"/>
              <a:t>‹#›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C231C83-ECA1-8928-8753-105F001B239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0114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3" r:id="rId1"/>
    <p:sldLayoutId id="2147485234" r:id="rId2"/>
    <p:sldLayoutId id="2147485235" r:id="rId3"/>
    <p:sldLayoutId id="2147485236" r:id="rId4"/>
    <p:sldLayoutId id="2147485237" r:id="rId5"/>
    <p:sldLayoutId id="2147485238" r:id="rId6"/>
    <p:sldLayoutId id="2147485239" r:id="rId7"/>
    <p:sldLayoutId id="2147485240" r:id="rId8"/>
    <p:sldLayoutId id="2147485241" r:id="rId9"/>
    <p:sldLayoutId id="2147485242" r:id="rId10"/>
    <p:sldLayoutId id="2147485243" r:id="rId11"/>
    <p:sldLayoutId id="2147485244" r:id="rId12"/>
    <p:sldLayoutId id="2147485245" r:id="rId13"/>
    <p:sldLayoutId id="2147485246" r:id="rId14"/>
    <p:sldLayoutId id="2147485247" r:id="rId15"/>
    <p:sldLayoutId id="2147485248" r:id="rId16"/>
    <p:sldLayoutId id="2147485249" r:id="rId17"/>
    <p:sldLayoutId id="2147485250" r:id="rId18"/>
    <p:sldLayoutId id="2147485251" r:id="rId19"/>
    <p:sldLayoutId id="2147485252" r:id="rId20"/>
    <p:sldLayoutId id="2147485253" r:id="rId21"/>
    <p:sldLayoutId id="2147485254" r:id="rId22"/>
    <p:sldLayoutId id="2147485255" r:id="rId23"/>
    <p:sldLayoutId id="2147485256" r:id="rId24"/>
    <p:sldLayoutId id="2147485257" r:id="rId25"/>
    <p:sldLayoutId id="2147485258" r:id="rId26"/>
    <p:sldLayoutId id="2147485259" r:id="rId27"/>
    <p:sldLayoutId id="2147485260" r:id="rId28"/>
    <p:sldLayoutId id="2147485261" r:id="rId29"/>
    <p:sldLayoutId id="2147485262" r:id="rId30"/>
    <p:sldLayoutId id="2147485263" r:id="rId31"/>
  </p:sldLayoutIdLst>
  <p:txStyles>
    <p:titleStyle>
      <a:lvl1pPr algn="l" defTabSz="914332" rtl="0" eaLnBrk="1" latinLnBrk="0" hangingPunct="1">
        <a:lnSpc>
          <a:spcPct val="100000"/>
        </a:lnSpc>
        <a:spcBef>
          <a:spcPct val="0"/>
        </a:spcBef>
        <a:buNone/>
        <a:defRPr sz="3200" b="0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84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50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14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080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47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</a:t>
            </a:r>
            <a:r>
              <a:rPr lang="en-US" err="1"/>
              <a:t>leveld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7DA7ED53-A5FA-8D4F-ADCE-5DCCB6311998}" type="datetimeFigureOut">
              <a:rPr lang="en-US" smtClean="0"/>
              <a:pPr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9D1037FD-3ED2-7F49-A5A0-DA7E06EAD1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D08237-13ED-9160-9CEF-42499BF84BB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01477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5" r:id="rId1"/>
    <p:sldLayoutId id="2147485316" r:id="rId2"/>
    <p:sldLayoutId id="2147485317" r:id="rId3"/>
    <p:sldLayoutId id="2147485318" r:id="rId4"/>
    <p:sldLayoutId id="2147485319" r:id="rId5"/>
    <p:sldLayoutId id="2147485320" r:id="rId6"/>
    <p:sldLayoutId id="2147485321" r:id="rId7"/>
    <p:sldLayoutId id="2147485322" r:id="rId8"/>
    <p:sldLayoutId id="2147485323" r:id="rId9"/>
    <p:sldLayoutId id="2147485324" r:id="rId10"/>
    <p:sldLayoutId id="2147485325" r:id="rId11"/>
    <p:sldLayoutId id="2147485326" r:id="rId12"/>
    <p:sldLayoutId id="2147485327" r:id="rId13"/>
    <p:sldLayoutId id="2147485328" r:id="rId14"/>
    <p:sldLayoutId id="2147485329" r:id="rId15"/>
    <p:sldLayoutId id="2147485330" r:id="rId16"/>
    <p:sldLayoutId id="2147485331" r:id="rId17"/>
    <p:sldLayoutId id="2147485332" r:id="rId18"/>
    <p:sldLayoutId id="2147485333" r:id="rId19"/>
    <p:sldLayoutId id="2147485334" r:id="rId20"/>
    <p:sldLayoutId id="2147485335" r:id="rId21"/>
    <p:sldLayoutId id="2147485336" r:id="rId22"/>
    <p:sldLayoutId id="2147485337" r:id="rId23"/>
    <p:sldLayoutId id="2147485338" r:id="rId24"/>
    <p:sldLayoutId id="2147485339" r:id="rId25"/>
    <p:sldLayoutId id="2147485340" r:id="rId26"/>
    <p:sldLayoutId id="2147485341" r:id="rId27"/>
    <p:sldLayoutId id="2147485342" r:id="rId28"/>
    <p:sldLayoutId id="2147485343" r:id="rId29"/>
    <p:sldLayoutId id="2147485344" r:id="rId30"/>
    <p:sldLayoutId id="2147485345" r:id="rId31"/>
    <p:sldLayoutId id="2147485346" r:id="rId32"/>
    <p:sldLayoutId id="2147485347" r:id="rId33"/>
    <p:sldLayoutId id="2147485348" r:id="rId34"/>
    <p:sldLayoutId id="2147485349" r:id="rId35"/>
    <p:sldLayoutId id="2147485350" r:id="rId36"/>
  </p:sldLayoutIdLst>
  <p:txStyles>
    <p:titleStyle>
      <a:lvl1pPr algn="l" defTabSz="914217" rtl="0" eaLnBrk="1" latinLnBrk="0" hangingPunct="1">
        <a:lnSpc>
          <a:spcPct val="100000"/>
        </a:lnSpc>
        <a:spcBef>
          <a:spcPct val="0"/>
        </a:spcBef>
        <a:buNone/>
        <a:defRPr sz="3299" b="0" i="0" kern="1200">
          <a:solidFill>
            <a:srgbClr val="333333"/>
          </a:solidFill>
          <a:latin typeface="Roboto Black" panose="02000000000000000000" pitchFamily="2" charset="0"/>
          <a:ea typeface="Roboto Black" panose="02000000000000000000" pitchFamily="2" charset="0"/>
          <a:cs typeface="Arial" panose="020B0604020202020204" pitchFamily="34" charset="0"/>
        </a:defRPr>
      </a:lvl1pPr>
    </p:titleStyle>
    <p:bodyStyle>
      <a:lvl1pPr marL="228554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1pPr>
      <a:lvl2pPr marL="685663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2pPr>
      <a:lvl3pPr marL="1142771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3pPr>
      <a:lvl4pPr marL="1599880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4pPr>
      <a:lvl5pPr marL="2056989" indent="-228554" algn="l" defTabSz="91421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b="0" i="0" kern="1200">
          <a:solidFill>
            <a:srgbClr val="333333"/>
          </a:solidFill>
          <a:latin typeface="Montserrat" pitchFamily="2" charset="77"/>
          <a:ea typeface="+mn-ea"/>
          <a:cs typeface="Arial" panose="020B0604020202020204" pitchFamily="34" charset="0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D29EADB0-6432-4667-88FE-A4CCB28357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50973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5" imgH="416" progId="TCLayout.ActiveDocument.1">
                  <p:embed/>
                </p:oleObj>
              </mc:Choice>
              <mc:Fallback>
                <p:oleObj name="think-cell Slide" r:id="rId23" imgW="415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D29EADB0-6432-4667-88FE-A4CCB2835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5AD404-B0E5-6B7D-DA5B-1C3778A56567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4135"/>
            <a:ext cx="12192000" cy="9386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5FC65A6-FF0F-5FB8-46D9-24528BCDD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95"/>
          <a:stretch/>
        </p:blipFill>
        <p:spPr>
          <a:xfrm>
            <a:off x="11462148" y="6421841"/>
            <a:ext cx="491157" cy="268578"/>
          </a:xfrm>
          <a:prstGeom prst="rect">
            <a:avLst/>
          </a:prstGeom>
        </p:spPr>
      </p:pic>
      <p:sp>
        <p:nvSpPr>
          <p:cNvPr id="5" name="Slide Number Placeholder 8">
            <a:extLst>
              <a:ext uri="{FF2B5EF4-FFF2-40B4-BE49-F238E27FC236}">
                <a16:creationId xmlns:a16="http://schemas.microsoft.com/office/drawing/2014/main" id="{4213CCB8-187C-37C8-74E3-14004F3B5007}"/>
              </a:ext>
            </a:extLst>
          </p:cNvPr>
          <p:cNvSpPr txBox="1">
            <a:spLocks/>
          </p:cNvSpPr>
          <p:nvPr userDrawn="1"/>
        </p:nvSpPr>
        <p:spPr>
          <a:xfrm>
            <a:off x="11464224" y="6536129"/>
            <a:ext cx="0" cy="0"/>
          </a:xfrm>
          <a:prstGeom prst="rect">
            <a:avLst/>
          </a:prstGeom>
        </p:spPr>
        <p:txBody>
          <a:bodyPr wrap="none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0844AD-CB3B-4EEE-AD68-5C3258E142BD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F6601AD-214E-D6D0-CB01-65ADD7DF92A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custDataLst>
      <p:tags r:id="rId21"/>
    </p:custDataLst>
    <p:extLst>
      <p:ext uri="{BB962C8B-B14F-4D97-AF65-F5344CB8AC3E}">
        <p14:creationId xmlns:p14="http://schemas.microsoft.com/office/powerpoint/2010/main" val="3298182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7" r:id="rId1"/>
    <p:sldLayoutId id="2147485378" r:id="rId2"/>
    <p:sldLayoutId id="2147485379" r:id="rId3"/>
    <p:sldLayoutId id="2147485380" r:id="rId4"/>
    <p:sldLayoutId id="2147485381" r:id="rId5"/>
    <p:sldLayoutId id="2147485382" r:id="rId6"/>
    <p:sldLayoutId id="2147485383" r:id="rId7"/>
    <p:sldLayoutId id="2147485384" r:id="rId8"/>
    <p:sldLayoutId id="2147485385" r:id="rId9"/>
    <p:sldLayoutId id="2147485386" r:id="rId10"/>
    <p:sldLayoutId id="2147485387" r:id="rId11"/>
    <p:sldLayoutId id="2147485388" r:id="rId12"/>
    <p:sldLayoutId id="2147485389" r:id="rId13"/>
    <p:sldLayoutId id="2147485390" r:id="rId14"/>
    <p:sldLayoutId id="2147485391" r:id="rId15"/>
    <p:sldLayoutId id="2147485392" r:id="rId16"/>
    <p:sldLayoutId id="2147485393" r:id="rId17"/>
    <p:sldLayoutId id="2147485394" r:id="rId18"/>
    <p:sldLayoutId id="2147485395" r:id="rId19"/>
  </p:sldLayoutIdLst>
  <p:hf hdr="0" ftr="0" dt="0"/>
  <p:txStyles>
    <p:titleStyle>
      <a:lvl1pPr algn="l" defTabSz="914286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rgbClr val="0036BC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0" indent="0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rgbClr val="333333"/>
          </a:solidFill>
          <a:latin typeface="+mn-lt"/>
          <a:ea typeface="+mn-ea"/>
          <a:cs typeface="Arial" panose="020B0604020202020204" pitchFamily="34" charset="0"/>
        </a:defRPr>
      </a:lvl1pPr>
      <a:lvl2pPr marL="685718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rgbClr val="333333"/>
          </a:solidFill>
          <a:latin typeface="+mn-lt"/>
          <a:ea typeface="+mn-ea"/>
          <a:cs typeface="Arial" panose="020B0604020202020204" pitchFamily="34" charset="0"/>
        </a:defRPr>
      </a:lvl2pPr>
      <a:lvl3pPr marL="1142869" indent="-228584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ꟷ"/>
        <a:defRPr sz="1800" kern="1200">
          <a:solidFill>
            <a:srgbClr val="333333"/>
          </a:solidFill>
          <a:latin typeface="+mn-lt"/>
          <a:ea typeface="+mn-ea"/>
          <a:cs typeface="Arial" panose="020B0604020202020204" pitchFamily="34" charset="0"/>
        </a:defRPr>
      </a:lvl3pPr>
      <a:lvl4pPr marL="1600000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143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286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0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3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8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7204" y="275073"/>
            <a:ext cx="10515600" cy="81192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40629"/>
            <a:ext cx="10515600" cy="47664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fld id="{7DA7ED53-A5FA-8D4F-ADCE-5DCCB6311998}" type="datetimeFigureOut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73"/>
              <a:t>10/3/2024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28573"/>
            <a:fld id="{9D1037FD-3ED2-7F49-A5A0-DA7E06EAD106}" type="slidenum">
              <a:rPr lang="en-US" smtClean="0">
                <a:solidFill>
                  <a:srgbClr val="121212">
                    <a:tint val="75000"/>
                  </a:srgbClr>
                </a:solidFill>
              </a:rPr>
              <a:pPr defTabSz="228573"/>
              <a:t>‹#›</a:t>
            </a:fld>
            <a:endParaRPr lang="en-US">
              <a:solidFill>
                <a:srgbClr val="121212">
                  <a:tint val="75000"/>
                </a:srgb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79C6DB-B756-A9E9-8F4E-A13FF3533AE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custDataLst>
      <p:tags r:id="rId22"/>
    </p:custDataLst>
    <p:extLst>
      <p:ext uri="{BB962C8B-B14F-4D97-AF65-F5344CB8AC3E}">
        <p14:creationId xmlns:p14="http://schemas.microsoft.com/office/powerpoint/2010/main" val="830014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7" r:id="rId1"/>
    <p:sldLayoutId id="2147485398" r:id="rId2"/>
    <p:sldLayoutId id="2147485399" r:id="rId3"/>
    <p:sldLayoutId id="2147485400" r:id="rId4"/>
    <p:sldLayoutId id="2147485401" r:id="rId5"/>
    <p:sldLayoutId id="2147485402" r:id="rId6"/>
    <p:sldLayoutId id="2147485403" r:id="rId7"/>
    <p:sldLayoutId id="2147485404" r:id="rId8"/>
    <p:sldLayoutId id="2147485405" r:id="rId9"/>
    <p:sldLayoutId id="2147485406" r:id="rId10"/>
    <p:sldLayoutId id="2147485407" r:id="rId11"/>
    <p:sldLayoutId id="2147485408" r:id="rId12"/>
    <p:sldLayoutId id="2147485409" r:id="rId13"/>
    <p:sldLayoutId id="2147485410" r:id="rId14"/>
    <p:sldLayoutId id="2147485411" r:id="rId15"/>
    <p:sldLayoutId id="2147485412" r:id="rId16"/>
    <p:sldLayoutId id="2147485413" r:id="rId17"/>
    <p:sldLayoutId id="2147485414" r:id="rId18"/>
    <p:sldLayoutId id="2147485415" r:id="rId19"/>
    <p:sldLayoutId id="2147485416" r:id="rId20"/>
  </p:sldLayoutIdLst>
  <p:txStyles>
    <p:titleStyle>
      <a:lvl1pPr algn="l" defTabSz="914286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67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18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67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869" indent="-228584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ꟷ"/>
        <a:defRPr sz="1867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000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143" indent="-228573" algn="l" defTabSz="914286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20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286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0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3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18" indent="-228573" algn="l" defTabSz="91428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8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8119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10511"/>
            <a:ext cx="10515600" cy="47664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7DA7ED53-A5FA-8D4F-ADCE-5DCCB6311998}" type="datetimeFigureOut">
              <a:rPr lang="en-US" smtClean="0"/>
              <a:pPr/>
              <a:t>10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D1037FD-3ED2-7F49-A5A0-DA7E06EAD1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BD89585-0EAE-61DB-25DF-8098C0E43A9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11825" y="6642100"/>
            <a:ext cx="796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36619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8" r:id="rId1"/>
    <p:sldLayoutId id="2147485459" r:id="rId2"/>
    <p:sldLayoutId id="2147485460" r:id="rId3"/>
    <p:sldLayoutId id="2147485461" r:id="rId4"/>
  </p:sldLayoutIdLst>
  <p:txStyles>
    <p:titleStyle>
      <a:lvl1pPr algn="l" defTabSz="1097097" rtl="0" eaLnBrk="1" latinLnBrk="0" hangingPunct="1">
        <a:lnSpc>
          <a:spcPct val="100000"/>
        </a:lnSpc>
        <a:spcBef>
          <a:spcPct val="0"/>
        </a:spcBef>
        <a:buNone/>
        <a:defRPr sz="3959" kern="1200">
          <a:solidFill>
            <a:srgbClr val="33333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74274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264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22823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216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71371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68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19920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44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468469" indent="-274274" algn="l" defTabSz="1097097" rtl="0" eaLnBrk="1" latinLnBrk="0" hangingPunct="1">
        <a:lnSpc>
          <a:spcPct val="100000"/>
        </a:lnSpc>
        <a:spcBef>
          <a:spcPts val="0"/>
        </a:spcBef>
        <a:spcAft>
          <a:spcPts val="720"/>
        </a:spcAft>
        <a:buFont typeface="Arial" panose="020B0604020202020204" pitchFamily="34" charset="0"/>
        <a:buChar char="•"/>
        <a:defRPr sz="1440" kern="1200">
          <a:solidFill>
            <a:srgbClr val="33333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017017" indent="-274274" algn="l" defTabSz="109709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5566" indent="-274274" algn="l" defTabSz="109709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114" indent="-274274" algn="l" defTabSz="109709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2663" indent="-274274" algn="l" defTabSz="1097097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549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097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646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194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2743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291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40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8388" algn="l" defTabSz="1097097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Relationship Id="rId6" Type="http://schemas.openxmlformats.org/officeDocument/2006/relationships/image" Target="../media/image32.png"/><Relationship Id="rId5" Type="http://schemas.openxmlformats.org/officeDocument/2006/relationships/image" Target="../media/image119.emf"/><Relationship Id="rId4" Type="http://schemas.openxmlformats.org/officeDocument/2006/relationships/oleObject" Target="../embeddings/oleObject3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2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6.xml"/><Relationship Id="rId6" Type="http://schemas.openxmlformats.org/officeDocument/2006/relationships/image" Target="../media/image122.png"/><Relationship Id="rId5" Type="http://schemas.openxmlformats.org/officeDocument/2006/relationships/image" Target="../media/image121.emf"/><Relationship Id="rId4" Type="http://schemas.openxmlformats.org/officeDocument/2006/relationships/oleObject" Target="../embeddings/oleObject3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3.xml"/><Relationship Id="rId6" Type="http://schemas.openxmlformats.org/officeDocument/2006/relationships/image" Target="../media/image122.png"/><Relationship Id="rId5" Type="http://schemas.openxmlformats.org/officeDocument/2006/relationships/image" Target="../media/image121.emf"/><Relationship Id="rId4" Type="http://schemas.openxmlformats.org/officeDocument/2006/relationships/oleObject" Target="../embeddings/oleObject3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4.xml"/><Relationship Id="rId6" Type="http://schemas.openxmlformats.org/officeDocument/2006/relationships/image" Target="../media/image122.png"/><Relationship Id="rId5" Type="http://schemas.openxmlformats.org/officeDocument/2006/relationships/image" Target="../media/image121.emf"/><Relationship Id="rId4" Type="http://schemas.openxmlformats.org/officeDocument/2006/relationships/oleObject" Target="../embeddings/oleObject3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5.xml"/><Relationship Id="rId6" Type="http://schemas.openxmlformats.org/officeDocument/2006/relationships/image" Target="../media/image122.png"/><Relationship Id="rId5" Type="http://schemas.openxmlformats.org/officeDocument/2006/relationships/image" Target="../media/image121.emf"/><Relationship Id="rId4" Type="http://schemas.openxmlformats.org/officeDocument/2006/relationships/oleObject" Target="../embeddings/oleObject3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2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32BE36-FCF5-D246-A652-9FF4CA913A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32BE36-FCF5-D246-A652-9FF4CA913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>
            <a:extLst>
              <a:ext uri="{FF2B5EF4-FFF2-40B4-BE49-F238E27FC236}">
                <a16:creationId xmlns:a16="http://schemas.microsoft.com/office/drawing/2014/main" id="{F50DF9C5-7E27-7A09-2AD3-216EE5468F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8561" y="1548390"/>
            <a:ext cx="7762288" cy="3084110"/>
          </a:xfrm>
        </p:spPr>
        <p:txBody>
          <a:bodyPr vert="horz" lIns="45714" tIns="22857" rIns="45714" bIns="22857" rtlCol="0" anchor="t">
            <a:noAutofit/>
          </a:bodyPr>
          <a:lstStyle/>
          <a:p>
            <a:endParaRPr lang="en-US" dirty="0">
              <a:latin typeface="Arial"/>
              <a:cs typeface="Arial"/>
            </a:endParaRPr>
          </a:p>
          <a:p>
            <a:r>
              <a:rPr lang="en-US" sz="3200" dirty="0">
                <a:latin typeface="Arial"/>
                <a:cs typeface="Arial"/>
              </a:rPr>
              <a:t>Initial Reporting – WWT and Cisco</a:t>
            </a:r>
          </a:p>
          <a:p>
            <a:r>
              <a:rPr lang="en-US" sz="3200" dirty="0">
                <a:latin typeface="Arial"/>
                <a:cs typeface="Arial"/>
              </a:rPr>
              <a:t>ROI Maintenance and IB Update</a:t>
            </a:r>
            <a:br>
              <a:rPr lang="en-US" dirty="0">
                <a:latin typeface="Arial"/>
                <a:cs typeface="Arial"/>
              </a:rPr>
            </a:br>
            <a:r>
              <a:rPr lang="en-US" sz="1400" dirty="0">
                <a:latin typeface="Arial"/>
                <a:cs typeface="Arial"/>
              </a:rPr>
              <a:t>September 20, 2024</a:t>
            </a:r>
          </a:p>
          <a:p>
            <a:endParaRPr lang="en-US" sz="1600" dirty="0">
              <a:latin typeface="Arial"/>
              <a:cs typeface="Arial"/>
            </a:endParaRPr>
          </a:p>
          <a:p>
            <a:r>
              <a:rPr lang="en-US" sz="1600" dirty="0">
                <a:latin typeface="Arial"/>
                <a:cs typeface="Arial"/>
              </a:rPr>
              <a:t>Accelerating business capabilities &amp; speed to value </a:t>
            </a:r>
          </a:p>
          <a:p>
            <a:r>
              <a:rPr lang="en-US" sz="1600" dirty="0">
                <a:latin typeface="Arial"/>
                <a:cs typeface="Arial"/>
              </a:rPr>
              <a:t>	Minimizing risk – Reducing cost – Building efficiency  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6CDBEB-781D-A7AA-51A2-D59E4C548182}"/>
              </a:ext>
            </a:extLst>
          </p:cNvPr>
          <p:cNvSpPr txBox="1"/>
          <p:nvPr/>
        </p:nvSpPr>
        <p:spPr>
          <a:xfrm>
            <a:off x="238561" y="5166602"/>
            <a:ext cx="5724131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121212"/>
                </a:solidFill>
                <a:latin typeface="Arial" panose="020B0604020202020204"/>
              </a:rPr>
              <a:t>Donna Herr – WWT Manager - Premier Accou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121212"/>
                </a:solidFill>
                <a:latin typeface="Arial" panose="020B0604020202020204"/>
              </a:rPr>
              <a:t>Jeff Nagus – WWT Senior Manager – Strategic Engag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121212"/>
                </a:solidFill>
                <a:latin typeface="Arial" panose="020B0604020202020204"/>
              </a:rPr>
              <a:t>Jim </a:t>
            </a:r>
            <a:r>
              <a:rPr lang="en-US" sz="1600" dirty="0" err="1">
                <a:solidFill>
                  <a:srgbClr val="121212"/>
                </a:solidFill>
                <a:latin typeface="Arial" panose="020B0604020202020204"/>
              </a:rPr>
              <a:t>Schupe</a:t>
            </a:r>
            <a:r>
              <a:rPr lang="en-US" sz="1600" dirty="0">
                <a:solidFill>
                  <a:srgbClr val="121212"/>
                </a:solidFill>
                <a:latin typeface="Arial" panose="020B0604020202020204"/>
              </a:rPr>
              <a:t> – Cisco CX Lead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rgbClr val="121212"/>
                </a:solidFill>
                <a:latin typeface="Arial" panose="020B0604020202020204"/>
              </a:rPr>
              <a:t>Allison </a:t>
            </a:r>
            <a:r>
              <a:rPr lang="en-US" sz="1600" dirty="0" err="1">
                <a:solidFill>
                  <a:srgbClr val="121212"/>
                </a:solidFill>
                <a:latin typeface="Arial" panose="020B0604020202020204"/>
              </a:rPr>
              <a:t>Morian</a:t>
            </a:r>
            <a:r>
              <a:rPr lang="en-US" sz="1600" dirty="0">
                <a:solidFill>
                  <a:srgbClr val="121212"/>
                </a:solidFill>
                <a:latin typeface="Arial" panose="020B0604020202020204"/>
              </a:rPr>
              <a:t> – Project Manager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lvl="0" indent="-285750">
              <a:buFontTx/>
              <a:buChar char="-"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Picture 4" descr="FedEx Logo transparent PNG - StickPNG">
            <a:extLst>
              <a:ext uri="{FF2B5EF4-FFF2-40B4-BE49-F238E27FC236}">
                <a16:creationId xmlns:a16="http://schemas.microsoft.com/office/drawing/2014/main" id="{27D1B4F8-8520-EB19-16DC-1F539AF152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2" t="36783" r="20213" b="38815"/>
          <a:stretch/>
        </p:blipFill>
        <p:spPr bwMode="auto">
          <a:xfrm>
            <a:off x="238561" y="374209"/>
            <a:ext cx="1958948" cy="64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Cisco brand resources: accessing high-guality vector logo ...">
            <a:extLst>
              <a:ext uri="{FF2B5EF4-FFF2-40B4-BE49-F238E27FC236}">
                <a16:creationId xmlns:a16="http://schemas.microsoft.com/office/drawing/2014/main" id="{4EE8204E-8677-C38B-6C41-9B4DE07D7D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503" y="5752876"/>
            <a:ext cx="925417" cy="865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2591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6629" y="271468"/>
            <a:ext cx="10972800" cy="685800"/>
          </a:xfrm>
        </p:spPr>
        <p:txBody>
          <a:bodyPr/>
          <a:lstStyle/>
          <a:p>
            <a:r>
              <a:rPr lang="en-US" dirty="0"/>
              <a:t>FedEx Hardware EoX Snapshot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21F413-9E3A-452F-2EA9-CEC8C3A47E85}"/>
              </a:ext>
            </a:extLst>
          </p:cNvPr>
          <p:cNvGrpSpPr/>
          <p:nvPr/>
        </p:nvGrpSpPr>
        <p:grpSpPr>
          <a:xfrm>
            <a:off x="997241" y="1715057"/>
            <a:ext cx="2463476" cy="1984644"/>
            <a:chOff x="457678" y="1196820"/>
            <a:chExt cx="1847607" cy="148848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E94C856-AD33-B5C5-1681-F27AE3C02A8C}"/>
                </a:ext>
              </a:extLst>
            </p:cNvPr>
            <p:cNvSpPr txBox="1"/>
            <p:nvPr/>
          </p:nvSpPr>
          <p:spPr>
            <a:xfrm>
              <a:off x="978453" y="1540952"/>
              <a:ext cx="726401" cy="377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667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39.3K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D5B06DF-2E07-20AC-DE55-E89B89885D3E}"/>
                </a:ext>
              </a:extLst>
            </p:cNvPr>
            <p:cNvSpPr txBox="1"/>
            <p:nvPr/>
          </p:nvSpPr>
          <p:spPr>
            <a:xfrm flipH="1">
              <a:off x="558805" y="1999035"/>
              <a:ext cx="1693308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Total Active Devices in the US and Canada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15E3F82-FFA0-A2DF-C081-15FF0CD2681B}"/>
                </a:ext>
              </a:extLst>
            </p:cNvPr>
            <p:cNvSpPr/>
            <p:nvPr/>
          </p:nvSpPr>
          <p:spPr>
            <a:xfrm>
              <a:off x="457678" y="1196820"/>
              <a:ext cx="1846949" cy="1488483"/>
            </a:xfrm>
            <a:prstGeom prst="rect">
              <a:avLst/>
            </a:prstGeom>
            <a:solidFill>
              <a:srgbClr val="1E4471"/>
            </a:solidFill>
            <a:ln w="25400" cap="flat" cmpd="sng" algn="ctr">
              <a:noFill/>
              <a:prstDash val="solid"/>
            </a:ln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D274D"/>
                </a:solidFill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2BD0089-1A88-A474-5EDF-ACA1549C218F}"/>
                </a:ext>
              </a:extLst>
            </p:cNvPr>
            <p:cNvSpPr txBox="1"/>
            <p:nvPr/>
          </p:nvSpPr>
          <p:spPr>
            <a:xfrm flipH="1">
              <a:off x="558802" y="1298682"/>
              <a:ext cx="1688844" cy="992579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867" spc="-200" dirty="0">
                  <a:solidFill>
                    <a:srgbClr val="00BCEB"/>
                  </a:solidFill>
                  <a:latin typeface="CiscoSansTT ExtraLight"/>
                  <a:ea typeface="CiscoSansTT ExtraLight" pitchFamily="34" charset="0"/>
                  <a:cs typeface="CiscoSansTT ExtraLight" pitchFamily="34" charset="0"/>
                </a:rPr>
                <a:t>6,622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ECB9BE4-9517-F9DD-AB8F-DD776DB28771}"/>
                </a:ext>
              </a:extLst>
            </p:cNvPr>
            <p:cNvSpPr txBox="1"/>
            <p:nvPr/>
          </p:nvSpPr>
          <p:spPr>
            <a:xfrm flipH="1">
              <a:off x="460612" y="2122806"/>
              <a:ext cx="1844673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Devices will reach Last Day of Support in 2027</a:t>
              </a:r>
            </a:p>
          </p:txBody>
        </p:sp>
      </p:grpSp>
      <p:sp>
        <p:nvSpPr>
          <p:cNvPr id="114" name="Title 2">
            <a:extLst>
              <a:ext uri="{FF2B5EF4-FFF2-40B4-BE49-F238E27FC236}">
                <a16:creationId xmlns:a16="http://schemas.microsoft.com/office/drawing/2014/main" id="{D4B81EF8-0F92-F254-C300-5BEF9CE50253}"/>
              </a:ext>
            </a:extLst>
          </p:cNvPr>
          <p:cNvSpPr txBox="1">
            <a:spLocks/>
          </p:cNvSpPr>
          <p:nvPr/>
        </p:nvSpPr>
        <p:spPr>
          <a:xfrm>
            <a:off x="632570" y="839443"/>
            <a:ext cx="7616484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2253">
              <a:defRPr/>
            </a:pPr>
            <a:r>
              <a:rPr lang="en-US" sz="1600" b="1" dirty="0">
                <a:solidFill>
                  <a:srgbClr val="00BCEB"/>
                </a:solidFill>
                <a:latin typeface="CiscoSansTT ExtraLight"/>
              </a:rPr>
              <a:t>Devices Reaching LDoS in 2027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E808040-5B20-2E6B-0B9E-27CABB34C6D4}"/>
              </a:ext>
            </a:extLst>
          </p:cNvPr>
          <p:cNvGrpSpPr/>
          <p:nvPr/>
        </p:nvGrpSpPr>
        <p:grpSpPr>
          <a:xfrm>
            <a:off x="996363" y="3835517"/>
            <a:ext cx="2463476" cy="1984644"/>
            <a:chOff x="457678" y="1196820"/>
            <a:chExt cx="1847607" cy="1488483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4F05CDF-8EDD-56F4-4ACD-760055BBF07F}"/>
                </a:ext>
              </a:extLst>
            </p:cNvPr>
            <p:cNvSpPr txBox="1"/>
            <p:nvPr/>
          </p:nvSpPr>
          <p:spPr>
            <a:xfrm>
              <a:off x="978453" y="1540952"/>
              <a:ext cx="726401" cy="377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667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39.3K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2FC77B5-982E-AF70-A5B2-3BBDC0129C58}"/>
                </a:ext>
              </a:extLst>
            </p:cNvPr>
            <p:cNvSpPr txBox="1"/>
            <p:nvPr/>
          </p:nvSpPr>
          <p:spPr>
            <a:xfrm flipH="1">
              <a:off x="558805" y="1999035"/>
              <a:ext cx="1693308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Total Active Devices in the US and Canada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1A8AC5-E4FA-12BE-0A19-D55803539BBC}"/>
                </a:ext>
              </a:extLst>
            </p:cNvPr>
            <p:cNvSpPr/>
            <p:nvPr/>
          </p:nvSpPr>
          <p:spPr>
            <a:xfrm>
              <a:off x="457678" y="1196820"/>
              <a:ext cx="1846949" cy="1488483"/>
            </a:xfrm>
            <a:prstGeom prst="rect">
              <a:avLst/>
            </a:prstGeom>
            <a:solidFill>
              <a:srgbClr val="1E4471"/>
            </a:solidFill>
            <a:ln w="25400" cap="flat" cmpd="sng" algn="ctr">
              <a:noFill/>
              <a:prstDash val="solid"/>
            </a:ln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D274D"/>
                </a:solidFill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E218626-5CDB-5873-C6E5-CC8926432E80}"/>
                </a:ext>
              </a:extLst>
            </p:cNvPr>
            <p:cNvSpPr txBox="1"/>
            <p:nvPr/>
          </p:nvSpPr>
          <p:spPr>
            <a:xfrm flipH="1">
              <a:off x="558802" y="1298682"/>
              <a:ext cx="1688844" cy="992579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867" spc="-200" dirty="0">
                  <a:solidFill>
                    <a:srgbClr val="00BCEB"/>
                  </a:solidFill>
                  <a:latin typeface="CiscoSansTT ExtraLight"/>
                  <a:ea typeface="CiscoSansTT ExtraLight" pitchFamily="34" charset="0"/>
                  <a:cs typeface="CiscoSansTT ExtraLight" pitchFamily="34" charset="0"/>
                </a:rPr>
                <a:t>91%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D46EFB7-28A1-7115-D7A6-F5E10F1A3849}"/>
                </a:ext>
              </a:extLst>
            </p:cNvPr>
            <p:cNvSpPr txBox="1"/>
            <p:nvPr/>
          </p:nvSpPr>
          <p:spPr>
            <a:xfrm flipH="1">
              <a:off x="460612" y="2122806"/>
              <a:ext cx="1844673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Of Devices are Catalyst 2960-X Series Switches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E094E1A-F319-2AA9-5572-0BA41AFF9B3D}"/>
              </a:ext>
            </a:extLst>
          </p:cNvPr>
          <p:cNvGrpSpPr/>
          <p:nvPr/>
        </p:nvGrpSpPr>
        <p:grpSpPr>
          <a:xfrm>
            <a:off x="3513907" y="1563230"/>
            <a:ext cx="5836571" cy="4560177"/>
            <a:chOff x="2224209" y="870602"/>
            <a:chExt cx="4377428" cy="3420133"/>
          </a:xfrm>
        </p:grpSpPr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95013977-123C-98B1-EEC9-CAF45F55E0B5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2224209" y="1236907"/>
            <a:ext cx="4377428" cy="30538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208ABF6-4405-8473-A0CF-9A3A530283DF}"/>
                </a:ext>
              </a:extLst>
            </p:cNvPr>
            <p:cNvSpPr/>
            <p:nvPr/>
          </p:nvSpPr>
          <p:spPr>
            <a:xfrm>
              <a:off x="3969373" y="2505189"/>
              <a:ext cx="1017884" cy="51726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733" dirty="0">
                  <a:solidFill>
                    <a:srgbClr val="414244"/>
                  </a:solidFill>
                  <a:latin typeface="CiscoSansTT Light"/>
                </a:rPr>
                <a:t>6.6k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3AE0DD8-B378-64A2-E08E-DADE8D71E336}"/>
                </a:ext>
              </a:extLst>
            </p:cNvPr>
            <p:cNvSpPr txBox="1"/>
            <p:nvPr/>
          </p:nvSpPr>
          <p:spPr>
            <a:xfrm>
              <a:off x="3788225" y="3548707"/>
              <a:ext cx="1393013" cy="34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Catalyst 2960-X Switches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6,024 (91%)</a:t>
              </a:r>
            </a:p>
          </p:txBody>
        </p:sp>
        <p:sp>
          <p:nvSpPr>
            <p:cNvPr id="40" name="Line Callout 1 39">
              <a:extLst>
                <a:ext uri="{FF2B5EF4-FFF2-40B4-BE49-F238E27FC236}">
                  <a16:creationId xmlns:a16="http://schemas.microsoft.com/office/drawing/2014/main" id="{FF122989-1510-370E-8A3D-CE50FB2B76C0}"/>
                </a:ext>
              </a:extLst>
            </p:cNvPr>
            <p:cNvSpPr/>
            <p:nvPr/>
          </p:nvSpPr>
          <p:spPr>
            <a:xfrm>
              <a:off x="2779955" y="1228393"/>
              <a:ext cx="1004341" cy="291920"/>
            </a:xfrm>
            <a:prstGeom prst="borderCallout1">
              <a:avLst>
                <a:gd name="adj1" fmla="val 52987"/>
                <a:gd name="adj2" fmla="val 99987"/>
                <a:gd name="adj3" fmla="val 97321"/>
                <a:gd name="adj4" fmla="val 124260"/>
              </a:avLst>
            </a:prstGeom>
            <a:solidFill>
              <a:schemeClr val="bg2"/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414244"/>
                  </a:solidFill>
                  <a:latin typeface="CiscoSansTT Light"/>
                </a:rPr>
                <a:t>Catalyst 3850 Switches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414244"/>
                  </a:solidFill>
                  <a:latin typeface="CiscoSansTT Light"/>
                </a:rPr>
                <a:t>408 (6%)</a:t>
              </a:r>
            </a:p>
          </p:txBody>
        </p:sp>
        <p:sp>
          <p:nvSpPr>
            <p:cNvPr id="41" name="Line Callout 1 40">
              <a:extLst>
                <a:ext uri="{FF2B5EF4-FFF2-40B4-BE49-F238E27FC236}">
                  <a16:creationId xmlns:a16="http://schemas.microsoft.com/office/drawing/2014/main" id="{74D84F79-7323-8D29-5005-CC2B1FFF5242}"/>
                </a:ext>
              </a:extLst>
            </p:cNvPr>
            <p:cNvSpPr/>
            <p:nvPr/>
          </p:nvSpPr>
          <p:spPr>
            <a:xfrm>
              <a:off x="3784296" y="870602"/>
              <a:ext cx="871117" cy="291920"/>
            </a:xfrm>
            <a:prstGeom prst="borderCallout1">
              <a:avLst>
                <a:gd name="adj1" fmla="val 106922"/>
                <a:gd name="adj2" fmla="val 66392"/>
                <a:gd name="adj3" fmla="val 176149"/>
                <a:gd name="adj4" fmla="val 67377"/>
              </a:avLst>
            </a:prstGeom>
            <a:solidFill>
              <a:schemeClr val="bg2"/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414244"/>
                  </a:solidFill>
                  <a:latin typeface="CiscoSansTT Light"/>
                </a:rPr>
                <a:t>Nexus 9000 Series Switches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414244"/>
                  </a:solidFill>
                  <a:latin typeface="CiscoSansTT Light"/>
                </a:rPr>
                <a:t>81 (1%)</a:t>
              </a:r>
            </a:p>
          </p:txBody>
        </p:sp>
        <p:sp>
          <p:nvSpPr>
            <p:cNvPr id="42" name="Line Callout 1 41">
              <a:extLst>
                <a:ext uri="{FF2B5EF4-FFF2-40B4-BE49-F238E27FC236}">
                  <a16:creationId xmlns:a16="http://schemas.microsoft.com/office/drawing/2014/main" id="{BFDAC484-467A-158C-8304-EE765B582D75}"/>
                </a:ext>
              </a:extLst>
            </p:cNvPr>
            <p:cNvSpPr/>
            <p:nvPr/>
          </p:nvSpPr>
          <p:spPr>
            <a:xfrm>
              <a:off x="4757408" y="994372"/>
              <a:ext cx="871117" cy="291920"/>
            </a:xfrm>
            <a:prstGeom prst="borderCallout1">
              <a:avLst>
                <a:gd name="adj1" fmla="val 100699"/>
                <a:gd name="adj2" fmla="val 1742"/>
                <a:gd name="adj3" fmla="val 142958"/>
                <a:gd name="adj4" fmla="val -32030"/>
              </a:avLst>
            </a:prstGeom>
            <a:solidFill>
              <a:schemeClr val="bg2"/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414244"/>
                  </a:solidFill>
                  <a:latin typeface="CiscoSansTT Light"/>
                </a:rPr>
                <a:t>ASR 1000 Series Routers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414244"/>
                  </a:solidFill>
                  <a:latin typeface="CiscoSansTT Light"/>
                </a:rPr>
                <a:t>74 (1%)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64D3BB40-D3B1-39DD-4BAE-5D1520365D30}"/>
              </a:ext>
            </a:extLst>
          </p:cNvPr>
          <p:cNvSpPr/>
          <p:nvPr/>
        </p:nvSpPr>
        <p:spPr>
          <a:xfrm flipH="1">
            <a:off x="8620346" y="3692614"/>
            <a:ext cx="3143725" cy="1505007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609585" fontAlgn="base">
              <a:lnSpc>
                <a:spcPts val="264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414244"/>
                </a:solidFill>
                <a:latin typeface="CiscoSansTT Light"/>
              </a:rPr>
              <a:t>Of the 6,024 Catalyst 2960-X reaching LDoS in 2027, 13% (804) are in Memphis and the remaining are located across 1,006 field sites. 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49A977C-D132-1BC8-06F8-41FF5CC53F72}"/>
              </a:ext>
            </a:extLst>
          </p:cNvPr>
          <p:cNvCxnSpPr>
            <a:cxnSpLocks/>
          </p:cNvCxnSpPr>
          <p:nvPr/>
        </p:nvCxnSpPr>
        <p:spPr>
          <a:xfrm flipH="1">
            <a:off x="7833159" y="4369597"/>
            <a:ext cx="78718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096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544E5-20AB-6A92-DA1D-BDC9E69AB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9544E5-20AB-6A92-DA1D-BDC9E69A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1EFD4A0-F854-5714-37A0-DE4C759D88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345" y="0"/>
            <a:ext cx="1299890" cy="7315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110FDA0-4822-B6CA-123C-78D3A38EA9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754" y="1308247"/>
            <a:ext cx="11936491" cy="3448579"/>
          </a:xfrm>
          <a:prstGeom prst="rect">
            <a:avLst/>
          </a:prstGeom>
        </p:spPr>
      </p:pic>
      <p:sp>
        <p:nvSpPr>
          <p:cNvPr id="3" name="Title 5">
            <a:extLst>
              <a:ext uri="{FF2B5EF4-FFF2-40B4-BE49-F238E27FC236}">
                <a16:creationId xmlns:a16="http://schemas.microsoft.com/office/drawing/2014/main" id="{879C77A9-D7A4-4BC4-B3E8-A9CA7C77E176}"/>
              </a:ext>
            </a:extLst>
          </p:cNvPr>
          <p:cNvSpPr>
            <a:spLocks noGrp="1"/>
          </p:cNvSpPr>
          <p:nvPr/>
        </p:nvSpPr>
        <p:spPr bwMode="auto">
          <a:xfrm>
            <a:off x="1916936" y="154236"/>
            <a:ext cx="10103848" cy="551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square" lIns="91424" tIns="45712" rIns="91424" bIns="45712" numCol="1" rtlCol="0" anchor="ctr" anchorCtr="0" compatLnSpc="1">
            <a:prstTxWarp prst="textNoShape">
              <a:avLst/>
            </a:prstTxWarp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33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SFA Initial IB Update</a:t>
            </a:r>
          </a:p>
        </p:txBody>
      </p:sp>
    </p:spTree>
    <p:extLst>
      <p:ext uri="{BB962C8B-B14F-4D97-AF65-F5344CB8AC3E}">
        <p14:creationId xmlns:p14="http://schemas.microsoft.com/office/powerpoint/2010/main" val="1479582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544E5-20AB-6A92-DA1D-BDC9E69AB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9544E5-20AB-6A92-DA1D-BDC9E69A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1EFD4A0-F854-5714-37A0-DE4C759D88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18" y="0"/>
            <a:ext cx="1299890" cy="7315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6D2775-C613-CBE1-D66B-B152EDCCC741}"/>
              </a:ext>
            </a:extLst>
          </p:cNvPr>
          <p:cNvSpPr txBox="1"/>
          <p:nvPr/>
        </p:nvSpPr>
        <p:spPr>
          <a:xfrm>
            <a:off x="245345" y="1210080"/>
            <a:ext cx="9449498" cy="43088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3200" dirty="0">
              <a:solidFill>
                <a:srgbClr val="121212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200" dirty="0">
                <a:solidFill>
                  <a:srgbClr val="12121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iscuss Hardware ROI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3200" dirty="0">
              <a:solidFill>
                <a:srgbClr val="121212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200" dirty="0">
                <a:solidFill>
                  <a:srgbClr val="12121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iscuss Timeline for Software ROI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3200" dirty="0">
              <a:solidFill>
                <a:srgbClr val="121212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Review Main</a:t>
            </a:r>
            <a:r>
              <a:rPr lang="en-US" sz="3200" dirty="0" err="1">
                <a:solidFill>
                  <a:srgbClr val="12121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enance</a:t>
            </a:r>
            <a:r>
              <a:rPr lang="en-US" sz="3200" dirty="0">
                <a:solidFill>
                  <a:srgbClr val="12121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ROI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3200" dirty="0">
              <a:solidFill>
                <a:srgbClr val="121212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EOX Upd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BA6C5B75-3731-1992-0BFE-74D46A6D7E11}"/>
              </a:ext>
            </a:extLst>
          </p:cNvPr>
          <p:cNvSpPr>
            <a:spLocks noGrp="1"/>
          </p:cNvSpPr>
          <p:nvPr/>
        </p:nvSpPr>
        <p:spPr bwMode="auto">
          <a:xfrm>
            <a:off x="1916936" y="154235"/>
            <a:ext cx="8295700" cy="1178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square" lIns="91424" tIns="45712" rIns="91424" bIns="45712" numCol="1" rtlCol="0" anchor="ctr" anchorCtr="0" compatLnSpc="1">
            <a:prstTxWarp prst="textNoShape">
              <a:avLst/>
            </a:prstTxWarp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33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354436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544E5-20AB-6A92-DA1D-BDC9E69AB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9544E5-20AB-6A92-DA1D-BDC9E69A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1EFD4A0-F854-5714-37A0-DE4C759D88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345" y="0"/>
            <a:ext cx="1299890" cy="7315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6D2775-C613-CBE1-D66B-B152EDCCC741}"/>
              </a:ext>
            </a:extLst>
          </p:cNvPr>
          <p:cNvSpPr txBox="1"/>
          <p:nvPr/>
        </p:nvSpPr>
        <p:spPr>
          <a:xfrm>
            <a:off x="245345" y="1210080"/>
            <a:ext cx="117754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A0998248-E6CF-BC42-A9AA-5FFDBA92CB08}"/>
              </a:ext>
            </a:extLst>
          </p:cNvPr>
          <p:cNvSpPr>
            <a:spLocks noGrp="1"/>
          </p:cNvSpPr>
          <p:nvPr/>
        </p:nvSpPr>
        <p:spPr bwMode="auto">
          <a:xfrm>
            <a:off x="1916936" y="154236"/>
            <a:ext cx="10103848" cy="551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square" lIns="91424" tIns="45712" rIns="91424" bIns="45712" numCol="1" rtlCol="0" anchor="ctr" anchorCtr="0" compatLnSpc="1">
            <a:prstTxWarp prst="textNoShape">
              <a:avLst/>
            </a:prstTxWarp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33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SFA ROI Comparison - Maintenance – To Date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3F30DB1-46E7-7A46-9599-8B6F2110F2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2856400"/>
              </p:ext>
            </p:extLst>
          </p:nvPr>
        </p:nvGraphicFramePr>
        <p:xfrm>
          <a:off x="711483" y="1045029"/>
          <a:ext cx="10287654" cy="50183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Box 7">
            <a:extLst>
              <a:ext uri="{FF2B5EF4-FFF2-40B4-BE49-F238E27FC236}">
                <a16:creationId xmlns:a16="http://schemas.microsoft.com/office/drawing/2014/main" id="{7A52059B-1780-4309-ABFC-7E09B9CD451A}"/>
              </a:ext>
            </a:extLst>
          </p:cNvPr>
          <p:cNvSpPr txBox="1"/>
          <p:nvPr/>
        </p:nvSpPr>
        <p:spPr>
          <a:xfrm>
            <a:off x="9265185" y="1530717"/>
            <a:ext cx="2681469" cy="956635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282828"/>
                </a:solidFill>
                <a:latin typeface="CiscoSansTT ExtraLight"/>
                <a:ea typeface="ＭＳ Ｐゴシック"/>
              </a:rPr>
              <a:t>$49M ‘Without SFA’ Spend includes:</a:t>
            </a:r>
          </a:p>
          <a:p>
            <a:pPr marL="227965" indent="-227965" defTabSz="609585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200" dirty="0">
                <a:solidFill>
                  <a:srgbClr val="282828"/>
                </a:solidFill>
                <a:latin typeface="CiscoSansTT ExtraLight"/>
                <a:ea typeface="ＭＳ Ｐゴシック"/>
              </a:rPr>
              <a:t>$35M of 8.7 &amp; Onsite</a:t>
            </a:r>
          </a:p>
          <a:p>
            <a:pPr marL="227965" indent="-227965" defTabSz="609585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200" dirty="0">
                <a:solidFill>
                  <a:srgbClr val="282828"/>
                </a:solidFill>
                <a:latin typeface="CiscoSansTT ExtraLight"/>
                <a:ea typeface="ＭＳ Ｐゴシック"/>
              </a:rPr>
              <a:t>$14M of 8.5 &amp; NBD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1C6193C8-F46B-4EE9-8776-D00F51FD6FC5}"/>
              </a:ext>
            </a:extLst>
          </p:cNvPr>
          <p:cNvSpPr txBox="1"/>
          <p:nvPr/>
        </p:nvSpPr>
        <p:spPr>
          <a:xfrm>
            <a:off x="8062503" y="5923210"/>
            <a:ext cx="3418015" cy="57708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i="1" dirty="0">
                <a:solidFill>
                  <a:srgbClr val="282828"/>
                </a:solidFill>
                <a:latin typeface="CiscoSansTT ExtraLight"/>
                <a:ea typeface="ＭＳ Ｐゴシック"/>
              </a:rPr>
              <a:t>‘Without SFA’ Assumptions:</a:t>
            </a:r>
          </a:p>
          <a:p>
            <a:pPr marL="227965" indent="-227965" defTabSz="609585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050" i="1" dirty="0">
                <a:solidFill>
                  <a:srgbClr val="282828"/>
                </a:solidFill>
                <a:latin typeface="CiscoSansTT ExtraLight"/>
                <a:ea typeface="ＭＳ Ｐゴシック"/>
              </a:rPr>
              <a:t>Annual services from base case analysis</a:t>
            </a:r>
          </a:p>
          <a:p>
            <a:pPr marL="227965" indent="-227965" defTabSz="609585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050" i="1" dirty="0">
                <a:solidFill>
                  <a:srgbClr val="282828"/>
                </a:solidFill>
                <a:latin typeface="CiscoSansTT ExtraLight"/>
                <a:ea typeface="ＭＳ Ｐゴシック"/>
              </a:rPr>
              <a:t>New maintenance attach based on 50% discount</a:t>
            </a:r>
          </a:p>
        </p:txBody>
      </p:sp>
      <p:sp>
        <p:nvSpPr>
          <p:cNvPr id="14" name="TextBox 7">
            <a:extLst>
              <a:ext uri="{FF2B5EF4-FFF2-40B4-BE49-F238E27FC236}">
                <a16:creationId xmlns:a16="http://schemas.microsoft.com/office/drawing/2014/main" id="{73D3381C-F605-8033-9544-84963136880E}"/>
              </a:ext>
            </a:extLst>
          </p:cNvPr>
          <p:cNvSpPr txBox="1"/>
          <p:nvPr/>
        </p:nvSpPr>
        <p:spPr>
          <a:xfrm>
            <a:off x="9339315" y="3482823"/>
            <a:ext cx="2681469" cy="954107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282828"/>
                </a:solidFill>
                <a:latin typeface="CiscoSansTT ExtraLight"/>
                <a:ea typeface="ＭＳ Ｐゴシック"/>
              </a:rPr>
              <a:t>$26M ‘With SFA’ Spend includes:</a:t>
            </a:r>
          </a:p>
          <a:p>
            <a:pPr marL="227965" indent="-227965" defTabSz="609585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200" dirty="0">
                <a:solidFill>
                  <a:srgbClr val="282828"/>
                </a:solidFill>
                <a:latin typeface="CiscoSansTT ExtraLight"/>
                <a:ea typeface="ＭＳ Ｐゴシック"/>
              </a:rPr>
              <a:t>$16M of 8.7 &amp; Onsite</a:t>
            </a:r>
          </a:p>
          <a:p>
            <a:pPr marL="227965" indent="-227965" defTabSz="609585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en-US" sz="1200" dirty="0">
                <a:solidFill>
                  <a:srgbClr val="282828"/>
                </a:solidFill>
                <a:latin typeface="CiscoSansTT ExtraLight"/>
                <a:ea typeface="ＭＳ Ｐゴシック"/>
              </a:rPr>
              <a:t>$7M of 8.5 &amp; NBD</a:t>
            </a:r>
          </a:p>
        </p:txBody>
      </p:sp>
    </p:spTree>
    <p:extLst>
      <p:ext uri="{BB962C8B-B14F-4D97-AF65-F5344CB8AC3E}">
        <p14:creationId xmlns:p14="http://schemas.microsoft.com/office/powerpoint/2010/main" val="1624840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9544E5-20AB-6A92-DA1D-BDC9E69AB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5" y="1240"/>
          <a:ext cx="613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9544E5-20AB-6A92-DA1D-BDC9E69A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1240"/>
                        <a:ext cx="613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A1EFD4A0-F854-5714-37A0-DE4C759D88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52" y="0"/>
            <a:ext cx="1299890" cy="7315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F6D2775-C613-CBE1-D66B-B152EDCCC741}"/>
              </a:ext>
            </a:extLst>
          </p:cNvPr>
          <p:cNvSpPr txBox="1"/>
          <p:nvPr/>
        </p:nvSpPr>
        <p:spPr>
          <a:xfrm>
            <a:off x="245345" y="1210080"/>
            <a:ext cx="117754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A113D5D8-E74F-0E48-AD75-765EB7157A6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6281335"/>
              </p:ext>
            </p:extLst>
          </p:nvPr>
        </p:nvGraphicFramePr>
        <p:xfrm>
          <a:off x="299383" y="782534"/>
          <a:ext cx="7434457" cy="3543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8393461-EB82-271A-9DDE-01AE67BE93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2580625"/>
              </p:ext>
            </p:extLst>
          </p:nvPr>
        </p:nvGraphicFramePr>
        <p:xfrm>
          <a:off x="7338414" y="1907425"/>
          <a:ext cx="3365500" cy="5334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0800">
                  <a:extLst>
                    <a:ext uri="{9D8B030D-6E8A-4147-A177-3AD203B41FA5}">
                      <a16:colId xmlns:a16="http://schemas.microsoft.com/office/drawing/2014/main" val="3054483691"/>
                    </a:ext>
                  </a:extLst>
                </a:gridCol>
                <a:gridCol w="774700">
                  <a:extLst>
                    <a:ext uri="{9D8B030D-6E8A-4147-A177-3AD203B41FA5}">
                      <a16:colId xmlns:a16="http://schemas.microsoft.com/office/drawing/2014/main" val="626181020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 Devices by Service Level 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913515167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8.7 &amp; Onsit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11430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3072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483878260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8.5 &amp; NBD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11430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1283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81534655"/>
                  </a:ext>
                </a:extLst>
              </a:tr>
            </a:tbl>
          </a:graphicData>
        </a:graphic>
      </p:graphicFrame>
      <p:sp>
        <p:nvSpPr>
          <p:cNvPr id="9" name="Title 5">
            <a:extLst>
              <a:ext uri="{FF2B5EF4-FFF2-40B4-BE49-F238E27FC236}">
                <a16:creationId xmlns:a16="http://schemas.microsoft.com/office/drawing/2014/main" id="{9B2D6ABD-CCA8-12F0-4CE3-0E3278AB9147}"/>
              </a:ext>
            </a:extLst>
          </p:cNvPr>
          <p:cNvSpPr>
            <a:spLocks noGrp="1"/>
          </p:cNvSpPr>
          <p:nvPr/>
        </p:nvSpPr>
        <p:spPr bwMode="auto">
          <a:xfrm>
            <a:off x="1916936" y="154236"/>
            <a:ext cx="10103848" cy="551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square" lIns="91424" tIns="45712" rIns="91424" bIns="45712" numCol="1" rtlCol="0" anchor="ctr" anchorCtr="0" compatLnSpc="1">
            <a:prstTxWarp prst="textNoShape">
              <a:avLst/>
            </a:prstTxWarp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33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SFA ROI Comparison - Maintenance – To Date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D318702-00A1-A94B-9992-D565F9FEDE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2908887"/>
              </p:ext>
            </p:extLst>
          </p:nvPr>
        </p:nvGraphicFramePr>
        <p:xfrm>
          <a:off x="5072743" y="3183356"/>
          <a:ext cx="6819874" cy="3458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F7F2D7F7-CD20-E3E7-CA6F-C701A99C67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1040300"/>
              </p:ext>
            </p:extLst>
          </p:nvPr>
        </p:nvGraphicFramePr>
        <p:xfrm>
          <a:off x="918935" y="4671133"/>
          <a:ext cx="3365500" cy="889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0800">
                  <a:extLst>
                    <a:ext uri="{9D8B030D-6E8A-4147-A177-3AD203B41FA5}">
                      <a16:colId xmlns:a16="http://schemas.microsoft.com/office/drawing/2014/main" val="720213419"/>
                    </a:ext>
                  </a:extLst>
                </a:gridCol>
                <a:gridCol w="774700">
                  <a:extLst>
                    <a:ext uri="{9D8B030D-6E8A-4147-A177-3AD203B41FA5}">
                      <a16:colId xmlns:a16="http://schemas.microsoft.com/office/drawing/2014/main" val="577884096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FA Software Savings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 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2314125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nterprise Rout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11430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$12.1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75728917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ACI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11430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$10.5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0035436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nterprise Network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11430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>
                          <a:effectLst/>
                        </a:rPr>
                        <a:t>$10.26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8918732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nterprise Switchin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11430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$7.1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516873571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D710C0E-7911-B7DC-6494-D8C01BF56DCA}"/>
              </a:ext>
            </a:extLst>
          </p:cNvPr>
          <p:cNvSpPr/>
          <p:nvPr/>
        </p:nvSpPr>
        <p:spPr>
          <a:xfrm>
            <a:off x="678255" y="5905707"/>
            <a:ext cx="3846860" cy="28055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EXAMPLE</a:t>
            </a:r>
            <a:r>
              <a:rPr lang="en-US" baseline="0"/>
              <a:t>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170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 descr="A pie chart with numbers and a number&#10;&#10;Description automatically generated">
            <a:extLst>
              <a:ext uri="{FF2B5EF4-FFF2-40B4-BE49-F238E27FC236}">
                <a16:creationId xmlns:a16="http://schemas.microsoft.com/office/drawing/2014/main" id="{D70CC189-66AA-568A-2379-14081F2D9B8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9541" t="2025" r="7165"/>
          <a:stretch/>
        </p:blipFill>
        <p:spPr>
          <a:xfrm>
            <a:off x="7260549" y="1751700"/>
            <a:ext cx="4298881" cy="435424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6629" y="375228"/>
            <a:ext cx="10972800" cy="685800"/>
          </a:xfrm>
        </p:spPr>
        <p:txBody>
          <a:bodyPr/>
          <a:lstStyle/>
          <a:p>
            <a:r>
              <a:rPr lang="en-US" dirty="0"/>
              <a:t>FedEx Hardware EoX Snapshot </a:t>
            </a:r>
          </a:p>
        </p:txBody>
      </p:sp>
      <p:sp>
        <p:nvSpPr>
          <p:cNvPr id="47" name="Line Callout 1 46">
            <a:extLst>
              <a:ext uri="{FF2B5EF4-FFF2-40B4-BE49-F238E27FC236}">
                <a16:creationId xmlns:a16="http://schemas.microsoft.com/office/drawing/2014/main" id="{90391E72-FB70-3766-93E5-264E8C7648A9}"/>
              </a:ext>
            </a:extLst>
          </p:cNvPr>
          <p:cNvSpPr/>
          <p:nvPr/>
        </p:nvSpPr>
        <p:spPr>
          <a:xfrm>
            <a:off x="8665401" y="1437390"/>
            <a:ext cx="1127529" cy="328295"/>
          </a:xfrm>
          <a:prstGeom prst="borderCallout1">
            <a:avLst>
              <a:gd name="adj1" fmla="val 100028"/>
              <a:gd name="adj2" fmla="val 53791"/>
              <a:gd name="adj3" fmla="val 169709"/>
              <a:gd name="adj4" fmla="val 52976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0" rIns="60960"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b="1" dirty="0">
                <a:solidFill>
                  <a:srgbClr val="414244"/>
                </a:solidFill>
                <a:latin typeface="CiscoSansTT Light"/>
              </a:rPr>
              <a:t>Announced</a:t>
            </a:r>
          </a:p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414244"/>
                </a:solidFill>
                <a:latin typeface="CiscoSansTT Light"/>
              </a:rPr>
              <a:t>1,082 (3%)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2CFA76F-97D8-0168-70E6-B8543B66862C}"/>
              </a:ext>
            </a:extLst>
          </p:cNvPr>
          <p:cNvSpPr txBox="1"/>
          <p:nvPr/>
        </p:nvSpPr>
        <p:spPr>
          <a:xfrm>
            <a:off x="10120268" y="4302388"/>
            <a:ext cx="14522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414244"/>
                </a:solidFill>
                <a:latin typeface="CiscoSansTT Light"/>
                <a:ea typeface="ＭＳ Ｐゴシック" charset="0"/>
              </a:rPr>
              <a:t>Unannounced</a:t>
            </a:r>
          </a:p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414244"/>
                </a:solidFill>
                <a:latin typeface="CiscoSansTT Light"/>
                <a:ea typeface="ＭＳ Ｐゴシック" charset="0"/>
              </a:rPr>
              <a:t>23,085 (56%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649BD40-EAE5-E9C8-E9AE-08DBC6D2CFD4}"/>
              </a:ext>
            </a:extLst>
          </p:cNvPr>
          <p:cNvSpPr txBox="1"/>
          <p:nvPr/>
        </p:nvSpPr>
        <p:spPr>
          <a:xfrm>
            <a:off x="7310820" y="4274946"/>
            <a:ext cx="14522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 err="1">
                <a:solidFill>
                  <a:srgbClr val="FFFFFF"/>
                </a:solidFill>
                <a:latin typeface="CiscoSansTT Light"/>
                <a:ea typeface="ＭＳ Ｐゴシック" charset="0"/>
              </a:rPr>
              <a:t>EoSale</a:t>
            </a:r>
            <a:endParaRPr lang="en-US" sz="1200" b="1" dirty="0">
              <a:solidFill>
                <a:srgbClr val="FFFFFF"/>
              </a:solidFill>
              <a:latin typeface="CiscoSansTT Light"/>
              <a:ea typeface="ＭＳ Ｐゴシック" charset="0"/>
            </a:endParaRPr>
          </a:p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CiscoSansTT Light"/>
                <a:ea typeface="ＭＳ Ｐゴシック" charset="0"/>
              </a:rPr>
              <a:t>8,244 (20%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9410B53-9F3F-EFC4-72AA-ED8A7F2166D8}"/>
              </a:ext>
            </a:extLst>
          </p:cNvPr>
          <p:cNvSpPr txBox="1"/>
          <p:nvPr/>
        </p:nvSpPr>
        <p:spPr>
          <a:xfrm>
            <a:off x="7408509" y="2921267"/>
            <a:ext cx="1256891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b="1" dirty="0">
                <a:solidFill>
                  <a:srgbClr val="414244"/>
                </a:solidFill>
                <a:latin typeface="CiscoSansTT Light"/>
                <a:ea typeface="ＭＳ Ｐゴシック" charset="0"/>
              </a:rPr>
              <a:t>EoSWM</a:t>
            </a:r>
          </a:p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414244"/>
                </a:solidFill>
                <a:latin typeface="CiscoSansTT Light"/>
                <a:ea typeface="ＭＳ Ｐゴシック" charset="0"/>
              </a:rPr>
              <a:t>6,998 (17%)</a:t>
            </a:r>
          </a:p>
        </p:txBody>
      </p:sp>
      <p:sp>
        <p:nvSpPr>
          <p:cNvPr id="57" name="Line Callout 1 56">
            <a:extLst>
              <a:ext uri="{FF2B5EF4-FFF2-40B4-BE49-F238E27FC236}">
                <a16:creationId xmlns:a16="http://schemas.microsoft.com/office/drawing/2014/main" id="{B40A7D59-E595-687B-EA15-388615BC9F86}"/>
              </a:ext>
            </a:extLst>
          </p:cNvPr>
          <p:cNvSpPr/>
          <p:nvPr/>
        </p:nvSpPr>
        <p:spPr>
          <a:xfrm>
            <a:off x="7408510" y="1621193"/>
            <a:ext cx="1094697" cy="328295"/>
          </a:xfrm>
          <a:prstGeom prst="borderCallout1">
            <a:avLst>
              <a:gd name="adj1" fmla="val 52987"/>
              <a:gd name="adj2" fmla="val 99987"/>
              <a:gd name="adj3" fmla="val 137523"/>
              <a:gd name="adj4" fmla="val 134038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0" rIns="60960"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b="1" dirty="0">
                <a:solidFill>
                  <a:srgbClr val="414244"/>
                </a:solidFill>
                <a:latin typeface="CiscoSansTT Light"/>
              </a:rPr>
              <a:t>LDoS</a:t>
            </a:r>
          </a:p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414244"/>
                </a:solidFill>
                <a:latin typeface="CiscoSansTT Light"/>
              </a:rPr>
              <a:t>1,538 (4%)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A7AD823-392C-F6D0-AAB4-D4938014248E}"/>
              </a:ext>
            </a:extLst>
          </p:cNvPr>
          <p:cNvGrpSpPr/>
          <p:nvPr/>
        </p:nvGrpSpPr>
        <p:grpSpPr>
          <a:xfrm>
            <a:off x="894934" y="1628058"/>
            <a:ext cx="2462599" cy="1984644"/>
            <a:chOff x="337199" y="1202000"/>
            <a:chExt cx="1846949" cy="148848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E94C856-AD33-B5C5-1681-F27AE3C02A8C}"/>
                </a:ext>
              </a:extLst>
            </p:cNvPr>
            <p:cNvSpPr txBox="1"/>
            <p:nvPr/>
          </p:nvSpPr>
          <p:spPr>
            <a:xfrm>
              <a:off x="841225" y="1626865"/>
              <a:ext cx="726401" cy="377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667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39.3K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6E13E85-FDEF-5882-5154-0B1A13A2083F}"/>
                </a:ext>
              </a:extLst>
            </p:cNvPr>
            <p:cNvSpPr/>
            <p:nvPr/>
          </p:nvSpPr>
          <p:spPr>
            <a:xfrm>
              <a:off x="337199" y="1202000"/>
              <a:ext cx="1846949" cy="1488483"/>
            </a:xfrm>
            <a:prstGeom prst="rect">
              <a:avLst/>
            </a:prstGeom>
            <a:solidFill>
              <a:srgbClr val="1E4471"/>
            </a:solidFill>
            <a:ln w="25400" cap="flat" cmpd="sng" algn="ctr">
              <a:noFill/>
              <a:prstDash val="solid"/>
            </a:ln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D274D"/>
                </a:solidFill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C94BB90C-BE9F-66B4-D59E-B8CBF19B2707}"/>
                </a:ext>
              </a:extLst>
            </p:cNvPr>
            <p:cNvSpPr txBox="1"/>
            <p:nvPr/>
          </p:nvSpPr>
          <p:spPr>
            <a:xfrm flipH="1">
              <a:off x="421575" y="1332220"/>
              <a:ext cx="1688844" cy="992579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867" spc="-200" dirty="0">
                  <a:solidFill>
                    <a:srgbClr val="00BCEB"/>
                  </a:solidFill>
                  <a:latin typeface="CiscoSansTT ExtraLight"/>
                  <a:ea typeface="CiscoSansTT ExtraLight" pitchFamily="34" charset="0"/>
                  <a:cs typeface="CiscoSansTT ExtraLight" pitchFamily="34" charset="0"/>
                </a:rPr>
                <a:t>40.1k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D5B06DF-2E07-20AC-DE55-E89B89885D3E}"/>
                </a:ext>
              </a:extLst>
            </p:cNvPr>
            <p:cNvSpPr txBox="1"/>
            <p:nvPr/>
          </p:nvSpPr>
          <p:spPr>
            <a:xfrm flipH="1">
              <a:off x="421577" y="2084948"/>
              <a:ext cx="1693308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Total Active Devices in the US</a:t>
              </a:r>
            </a:p>
          </p:txBody>
        </p:sp>
      </p:grpSp>
      <p:sp>
        <p:nvSpPr>
          <p:cNvPr id="114" name="Title 2">
            <a:extLst>
              <a:ext uri="{FF2B5EF4-FFF2-40B4-BE49-F238E27FC236}">
                <a16:creationId xmlns:a16="http://schemas.microsoft.com/office/drawing/2014/main" id="{D4B81EF8-0F92-F254-C300-5BEF9CE50253}"/>
              </a:ext>
            </a:extLst>
          </p:cNvPr>
          <p:cNvSpPr txBox="1">
            <a:spLocks/>
          </p:cNvSpPr>
          <p:nvPr/>
        </p:nvSpPr>
        <p:spPr>
          <a:xfrm>
            <a:off x="632571" y="943203"/>
            <a:ext cx="4477693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2253">
              <a:defRPr/>
            </a:pPr>
            <a:r>
              <a:rPr lang="en-US" sz="1600" b="1" dirty="0">
                <a:solidFill>
                  <a:srgbClr val="00BCEB"/>
                </a:solidFill>
                <a:latin typeface="CiscoSansTT ExtraLight"/>
              </a:rPr>
              <a:t>EoX Overview – Parent Chassis in the U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D817A4-79CF-DBE2-EB2C-022703B400FD}"/>
              </a:ext>
            </a:extLst>
          </p:cNvPr>
          <p:cNvSpPr/>
          <p:nvPr/>
        </p:nvSpPr>
        <p:spPr>
          <a:xfrm>
            <a:off x="3516722" y="2671333"/>
            <a:ext cx="3204485" cy="94136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D274D"/>
              </a:solidFill>
              <a:latin typeface="CiscoSansTT ExtraLigh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BC4E81A-24A7-2690-21FE-A4B795EC46CD}"/>
              </a:ext>
            </a:extLst>
          </p:cNvPr>
          <p:cNvSpPr/>
          <p:nvPr/>
        </p:nvSpPr>
        <p:spPr>
          <a:xfrm>
            <a:off x="3516721" y="1641688"/>
            <a:ext cx="3204487" cy="94136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D274D"/>
              </a:solidFill>
              <a:latin typeface="CiscoSansTT ExtraLight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1E680AD-60FD-AA0E-FA98-FFC09C06C105}"/>
              </a:ext>
            </a:extLst>
          </p:cNvPr>
          <p:cNvSpPr/>
          <p:nvPr/>
        </p:nvSpPr>
        <p:spPr>
          <a:xfrm>
            <a:off x="3652037" y="2820271"/>
            <a:ext cx="633984" cy="633984"/>
          </a:xfrm>
          <a:prstGeom prst="ellipse">
            <a:avLst/>
          </a:prstGeom>
          <a:solidFill>
            <a:srgbClr val="FFF176"/>
          </a:solidFill>
          <a:ln>
            <a:noFill/>
          </a:ln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BCEB"/>
              </a:solidFill>
              <a:latin typeface="CiscoSansTT ExtraLigh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B450D3-E488-E85A-C91D-96DBAB0A5A9B}"/>
              </a:ext>
            </a:extLst>
          </p:cNvPr>
          <p:cNvSpPr txBox="1"/>
          <p:nvPr/>
        </p:nvSpPr>
        <p:spPr>
          <a:xfrm>
            <a:off x="3562061" y="2921267"/>
            <a:ext cx="813937" cy="431991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 dirty="0">
                <a:solidFill>
                  <a:srgbClr val="414244"/>
                </a:solidFill>
                <a:latin typeface="CiscoSansTT ExtraLight"/>
                <a:ea typeface="CiscoSansTT ExtraLight" pitchFamily="34" charset="0"/>
                <a:cs typeface="CiscoSansTT ExtraLight" pitchFamily="34" charset="0"/>
              </a:rPr>
              <a:t>17%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F0C7DCB-ECF7-1CEF-4BCA-3CAF8AC0A73E}"/>
              </a:ext>
            </a:extLst>
          </p:cNvPr>
          <p:cNvSpPr>
            <a:spLocks/>
          </p:cNvSpPr>
          <p:nvPr/>
        </p:nvSpPr>
        <p:spPr>
          <a:xfrm>
            <a:off x="3626097" y="1826519"/>
            <a:ext cx="633984" cy="633984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srgbClr val="00BCEB"/>
              </a:solidFill>
              <a:latin typeface="CiscoSansTT ExtraLigh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7C4FB3-43FC-29F0-3130-616985FBE2D9}"/>
              </a:ext>
            </a:extLst>
          </p:cNvPr>
          <p:cNvSpPr txBox="1"/>
          <p:nvPr/>
        </p:nvSpPr>
        <p:spPr>
          <a:xfrm>
            <a:off x="3515436" y="1896375"/>
            <a:ext cx="813937" cy="431991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 dirty="0">
                <a:solidFill>
                  <a:srgbClr val="FFFFFF"/>
                </a:solidFill>
                <a:latin typeface="CiscoSansTT ExtraLight"/>
                <a:ea typeface="CiscoSansTT ExtraLight" pitchFamily="34" charset="0"/>
                <a:cs typeface="CiscoSansTT ExtraLight" pitchFamily="34" charset="0"/>
              </a:rPr>
              <a:t>4%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ECB9BE4-9517-F9DD-AB8F-DD776DB28771}"/>
              </a:ext>
            </a:extLst>
          </p:cNvPr>
          <p:cNvSpPr txBox="1"/>
          <p:nvPr/>
        </p:nvSpPr>
        <p:spPr>
          <a:xfrm flipH="1">
            <a:off x="4244813" y="1835716"/>
            <a:ext cx="2257744" cy="584968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414244"/>
                </a:solidFill>
                <a:latin typeface="CiscoSansTT ExtraLight"/>
                <a:ea typeface="ＭＳ Ｐゴシック" charset="0"/>
              </a:rPr>
              <a:t>Of Devices Past Last Day of Suppor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C2289E0-D796-ADBC-2240-73A91C1AC1DB}"/>
              </a:ext>
            </a:extLst>
          </p:cNvPr>
          <p:cNvSpPr txBox="1"/>
          <p:nvPr/>
        </p:nvSpPr>
        <p:spPr>
          <a:xfrm flipH="1">
            <a:off x="4274713" y="2788028"/>
            <a:ext cx="2394945" cy="584968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414244"/>
                </a:solidFill>
                <a:latin typeface="CiscoSansTT ExtraLight"/>
                <a:ea typeface="ＭＳ Ｐゴシック" charset="0"/>
              </a:rPr>
              <a:t>Of Devices End of Software Maintenance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EA7B57A1-F459-90C4-BB45-05168E646B78}"/>
              </a:ext>
            </a:extLst>
          </p:cNvPr>
          <p:cNvSpPr txBox="1">
            <a:spLocks/>
          </p:cNvSpPr>
          <p:nvPr/>
        </p:nvSpPr>
        <p:spPr>
          <a:xfrm>
            <a:off x="2299519" y="3885719"/>
            <a:ext cx="3287141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2253">
              <a:defRPr/>
            </a:pPr>
            <a:r>
              <a:rPr lang="en-US" sz="1600" b="1" dirty="0">
                <a:solidFill>
                  <a:srgbClr val="414244"/>
                </a:solidFill>
                <a:latin typeface="CiscoSansTT ExtraLight"/>
              </a:rPr>
              <a:t>Devices LDoS 2025-2029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F53FC18A-5E3C-C0A0-6BD6-AF3C0105F1BE}"/>
              </a:ext>
            </a:extLst>
          </p:cNvPr>
          <p:cNvGraphicFramePr>
            <a:graphicFrameLocks/>
          </p:cNvGraphicFramePr>
          <p:nvPr/>
        </p:nvGraphicFramePr>
        <p:xfrm>
          <a:off x="893267" y="4145163"/>
          <a:ext cx="6050120" cy="2095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id="{D07A486E-EBF5-42C1-1F41-83F189AA7703}"/>
              </a:ext>
            </a:extLst>
          </p:cNvPr>
          <p:cNvSpPr/>
          <p:nvPr/>
        </p:nvSpPr>
        <p:spPr>
          <a:xfrm>
            <a:off x="8763089" y="3612702"/>
            <a:ext cx="1357179" cy="68968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60" rIns="60960"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733" dirty="0">
                <a:solidFill>
                  <a:srgbClr val="414244"/>
                </a:solidFill>
                <a:latin typeface="CiscoSansTT Light"/>
              </a:rPr>
              <a:t>40.1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743C7B-DD1E-03AF-2D21-736714C8C227}"/>
              </a:ext>
            </a:extLst>
          </p:cNvPr>
          <p:cNvSpPr txBox="1"/>
          <p:nvPr/>
        </p:nvSpPr>
        <p:spPr>
          <a:xfrm>
            <a:off x="1809641" y="5582131"/>
            <a:ext cx="391454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414244"/>
                </a:solidFill>
                <a:latin typeface="CiscoSansTT Light"/>
                <a:ea typeface="ＭＳ Ｐゴシック" charset="0"/>
              </a:rPr>
              <a:t>37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F9E12F7-ABBF-F7EA-D284-BD9470901F10}"/>
              </a:ext>
            </a:extLst>
          </p:cNvPr>
          <p:cNvSpPr txBox="1"/>
          <p:nvPr/>
        </p:nvSpPr>
        <p:spPr>
          <a:xfrm>
            <a:off x="3853608" y="4377538"/>
            <a:ext cx="494046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414244"/>
                </a:solidFill>
                <a:latin typeface="CiscoSansTT Light"/>
                <a:ea typeface="ＭＳ Ｐゴシック" charset="0"/>
              </a:rPr>
              <a:t>6,62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C21271-F5CE-1169-77C4-B7D0B215135D}"/>
              </a:ext>
            </a:extLst>
          </p:cNvPr>
          <p:cNvSpPr txBox="1"/>
          <p:nvPr/>
        </p:nvSpPr>
        <p:spPr>
          <a:xfrm>
            <a:off x="4916336" y="4547963"/>
            <a:ext cx="494046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414244"/>
                </a:solidFill>
                <a:latin typeface="CiscoSansTT Light"/>
                <a:ea typeface="ＭＳ Ｐゴシック" charset="0"/>
              </a:rPr>
              <a:t>5,77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0C3F30-FFBF-8C58-490F-9FEB47F5FFF8}"/>
              </a:ext>
            </a:extLst>
          </p:cNvPr>
          <p:cNvSpPr txBox="1"/>
          <p:nvPr/>
        </p:nvSpPr>
        <p:spPr>
          <a:xfrm>
            <a:off x="5917373" y="5057554"/>
            <a:ext cx="494046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414244"/>
                </a:solidFill>
                <a:latin typeface="CiscoSansTT Light"/>
                <a:ea typeface="ＭＳ Ｐゴシック" charset="0"/>
              </a:rPr>
              <a:t>3,555</a:t>
            </a:r>
          </a:p>
        </p:txBody>
      </p:sp>
    </p:spTree>
    <p:extLst>
      <p:ext uri="{BB962C8B-B14F-4D97-AF65-F5344CB8AC3E}">
        <p14:creationId xmlns:p14="http://schemas.microsoft.com/office/powerpoint/2010/main" val="549098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6629" y="271468"/>
            <a:ext cx="10972800" cy="685800"/>
          </a:xfrm>
        </p:spPr>
        <p:txBody>
          <a:bodyPr/>
          <a:lstStyle/>
          <a:p>
            <a:r>
              <a:rPr lang="en-US" dirty="0"/>
              <a:t>FedEx Hardware EoX Snapshot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E94C856-AD33-B5C5-1681-F27AE3C02A8C}"/>
              </a:ext>
            </a:extLst>
          </p:cNvPr>
          <p:cNvSpPr txBox="1"/>
          <p:nvPr/>
        </p:nvSpPr>
        <p:spPr>
          <a:xfrm>
            <a:off x="1832641" y="2651348"/>
            <a:ext cx="968535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667" dirty="0">
                <a:solidFill>
                  <a:srgbClr val="FFFFFF"/>
                </a:solidFill>
                <a:latin typeface="CiscoSansTT ExtraLight"/>
                <a:ea typeface="ＭＳ Ｐゴシック" charset="0"/>
              </a:rPr>
              <a:t>39.3K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15E3F82-FFA0-A2DF-C081-15FF0CD2681B}"/>
              </a:ext>
            </a:extLst>
          </p:cNvPr>
          <p:cNvSpPr/>
          <p:nvPr/>
        </p:nvSpPr>
        <p:spPr>
          <a:xfrm>
            <a:off x="1176442" y="2075725"/>
            <a:ext cx="2462599" cy="1984644"/>
          </a:xfrm>
          <a:prstGeom prst="rect">
            <a:avLst/>
          </a:prstGeom>
          <a:solidFill>
            <a:srgbClr val="1E4471"/>
          </a:solidFill>
          <a:ln w="25400" cap="flat" cmpd="sng" algn="ctr">
            <a:noFill/>
            <a:prstDash val="solid"/>
          </a:ln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 anchor="ctr">
            <a:noAutofit/>
          </a:bodyPr>
          <a:lstStyle/>
          <a:p>
            <a:pPr algn="ctr" defTabSz="1219170">
              <a:defRPr/>
            </a:pPr>
            <a:endParaRPr lang="en-US" sz="2400" kern="0" dirty="0">
              <a:solidFill>
                <a:srgbClr val="0D274D"/>
              </a:solidFill>
              <a:latin typeface="CiscoSansTT ExtraLight"/>
              <a:ea typeface="ＭＳ Ｐゴシック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2BD0089-1A88-A474-5EDF-ACA1549C218F}"/>
              </a:ext>
            </a:extLst>
          </p:cNvPr>
          <p:cNvSpPr txBox="1"/>
          <p:nvPr/>
        </p:nvSpPr>
        <p:spPr>
          <a:xfrm flipH="1">
            <a:off x="1288941" y="2211541"/>
            <a:ext cx="2251792" cy="1323439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867" spc="-200" dirty="0">
                <a:solidFill>
                  <a:srgbClr val="00BCEB"/>
                </a:solidFill>
                <a:latin typeface="CiscoSansTT ExtraLight"/>
                <a:ea typeface="CiscoSansTT ExtraLight" pitchFamily="34" charset="0"/>
                <a:cs typeface="CiscoSansTT ExtraLight" pitchFamily="34" charset="0"/>
              </a:rPr>
              <a:t>1,538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ECB9BE4-9517-F9DD-AB8F-DD776DB28771}"/>
              </a:ext>
            </a:extLst>
          </p:cNvPr>
          <p:cNvSpPr txBox="1"/>
          <p:nvPr/>
        </p:nvSpPr>
        <p:spPr>
          <a:xfrm flipH="1">
            <a:off x="1288944" y="3215177"/>
            <a:ext cx="2257744" cy="584968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CiscoSansTT ExtraLight"/>
                <a:ea typeface="ＭＳ Ｐゴシック" charset="0"/>
              </a:rPr>
              <a:t>Devices Past Last Day of Support</a:t>
            </a:r>
          </a:p>
        </p:txBody>
      </p:sp>
      <p:sp>
        <p:nvSpPr>
          <p:cNvPr id="114" name="Title 2">
            <a:extLst>
              <a:ext uri="{FF2B5EF4-FFF2-40B4-BE49-F238E27FC236}">
                <a16:creationId xmlns:a16="http://schemas.microsoft.com/office/drawing/2014/main" id="{D4B81EF8-0F92-F254-C300-5BEF9CE50253}"/>
              </a:ext>
            </a:extLst>
          </p:cNvPr>
          <p:cNvSpPr txBox="1">
            <a:spLocks/>
          </p:cNvSpPr>
          <p:nvPr/>
        </p:nvSpPr>
        <p:spPr>
          <a:xfrm>
            <a:off x="632571" y="839443"/>
            <a:ext cx="3287141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2253">
              <a:defRPr/>
            </a:pPr>
            <a:r>
              <a:rPr lang="en-US" sz="1600" b="1" dirty="0">
                <a:solidFill>
                  <a:srgbClr val="00BCEB"/>
                </a:solidFill>
                <a:latin typeface="CiscoSansTT ExtraLight"/>
              </a:rPr>
              <a:t>Past Last Day of Support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161FC1DA-1D00-A649-16A4-C87680011750}"/>
              </a:ext>
            </a:extLst>
          </p:cNvPr>
          <p:cNvGrpSpPr/>
          <p:nvPr/>
        </p:nvGrpSpPr>
        <p:grpSpPr>
          <a:xfrm>
            <a:off x="4869294" y="2049972"/>
            <a:ext cx="6242841" cy="4246176"/>
            <a:chOff x="4815244" y="1147198"/>
            <a:chExt cx="3887165" cy="3184632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EA8CAB6-81B6-6BD6-3977-D657F7400A72}"/>
                </a:ext>
              </a:extLst>
            </p:cNvPr>
            <p:cNvSpPr txBox="1"/>
            <p:nvPr/>
          </p:nvSpPr>
          <p:spPr>
            <a:xfrm rot="5400000">
              <a:off x="5340782" y="1055214"/>
              <a:ext cx="261659" cy="1231804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Nexus 5000 Series Switche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EADD3BB-7EC7-3064-205B-634AEFD12D0E}"/>
                </a:ext>
              </a:extLst>
            </p:cNvPr>
            <p:cNvSpPr txBox="1"/>
            <p:nvPr/>
          </p:nvSpPr>
          <p:spPr>
            <a:xfrm rot="5400000">
              <a:off x="5340782" y="1453244"/>
              <a:ext cx="261659" cy="1312736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Catalyst 4900 Series Switches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681AB24-094E-01F1-FC3E-6EBB74482F1A}"/>
                </a:ext>
              </a:extLst>
            </p:cNvPr>
            <p:cNvSpPr txBox="1"/>
            <p:nvPr/>
          </p:nvSpPr>
          <p:spPr>
            <a:xfrm rot="5400000">
              <a:off x="5340783" y="1850944"/>
              <a:ext cx="261659" cy="1312736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Catalyst 3560X Series Switches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46E3754E-7177-69D2-8468-BC02BD411A71}"/>
                </a:ext>
              </a:extLst>
            </p:cNvPr>
            <p:cNvSpPr txBox="1"/>
            <p:nvPr/>
          </p:nvSpPr>
          <p:spPr>
            <a:xfrm rot="5400000">
              <a:off x="5340783" y="2348114"/>
              <a:ext cx="261659" cy="1115384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2900 Series ISRs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8EDCEB1-E223-DA6A-BAE6-38B360BF0997}"/>
                </a:ext>
              </a:extLst>
            </p:cNvPr>
            <p:cNvSpPr txBox="1"/>
            <p:nvPr/>
          </p:nvSpPr>
          <p:spPr>
            <a:xfrm rot="5400000">
              <a:off x="5340783" y="2622977"/>
              <a:ext cx="261659" cy="1312736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Catalyst 3560 Series Switches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3C246B2-A23B-EC7B-BD29-28788A9E6981}"/>
                </a:ext>
              </a:extLst>
            </p:cNvPr>
            <p:cNvSpPr txBox="1"/>
            <p:nvPr/>
          </p:nvSpPr>
          <p:spPr>
            <a:xfrm rot="5400000">
              <a:off x="5340783" y="3093806"/>
              <a:ext cx="261659" cy="1115384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Other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81CB0182-B627-FF42-C145-5AA45A17A325}"/>
                </a:ext>
              </a:extLst>
            </p:cNvPr>
            <p:cNvSpPr/>
            <p:nvPr/>
          </p:nvSpPr>
          <p:spPr>
            <a:xfrm>
              <a:off x="5142085" y="1147198"/>
              <a:ext cx="3560324" cy="2385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67" b="1" dirty="0">
                  <a:solidFill>
                    <a:srgbClr val="282828"/>
                  </a:solidFill>
                  <a:latin typeface="CiscoSansTT ExtraLight"/>
                  <a:ea typeface="ＭＳ Ｐゴシック" charset="0"/>
                </a:rPr>
                <a:t>Number Devices past LDoS per Product Family</a:t>
              </a:r>
              <a:endParaRPr lang="en-US" sz="4267" b="1" dirty="0">
                <a:solidFill>
                  <a:srgbClr val="282828"/>
                </a:solidFill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111" name="5-Point Star 110">
              <a:extLst>
                <a:ext uri="{FF2B5EF4-FFF2-40B4-BE49-F238E27FC236}">
                  <a16:creationId xmlns:a16="http://schemas.microsoft.com/office/drawing/2014/main" id="{27B0169F-2595-0560-4AB0-9C917ADE6314}"/>
                </a:ext>
              </a:extLst>
            </p:cNvPr>
            <p:cNvSpPr/>
            <p:nvPr/>
          </p:nvSpPr>
          <p:spPr>
            <a:xfrm>
              <a:off x="5535408" y="4075347"/>
              <a:ext cx="233464" cy="215444"/>
            </a:xfrm>
            <a:prstGeom prst="star5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414244"/>
                </a:solidFill>
                <a:latin typeface="CiscoSansTT Light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54F96A20-139F-0137-564E-B9E9EC702A00}"/>
                </a:ext>
              </a:extLst>
            </p:cNvPr>
            <p:cNvSpPr txBox="1"/>
            <p:nvPr/>
          </p:nvSpPr>
          <p:spPr>
            <a:xfrm rot="5400000">
              <a:off x="6901777" y="2889106"/>
              <a:ext cx="246173" cy="2639276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33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Confirmed to be decommissioned with closure of the legacy data centers.</a:t>
              </a:r>
            </a:p>
          </p:txBody>
        </p:sp>
        <mc:AlternateContent xmlns:mc="http://schemas.openxmlformats.org/markup-compatibility/2006" xmlns:cx2="http://schemas.microsoft.com/office/drawing/2015/10/21/chartex">
          <mc:Choice Requires="cx2">
            <p:graphicFrame>
              <p:nvGraphicFramePr>
                <p:cNvPr id="117" name="Chart 116">
                  <a:extLst>
                    <a:ext uri="{FF2B5EF4-FFF2-40B4-BE49-F238E27FC236}">
                      <a16:creationId xmlns:a16="http://schemas.microsoft.com/office/drawing/2014/main" id="{8E2BB80A-9E71-37D5-5338-CB0AD2D9BEAD}"/>
                    </a:ext>
                  </a:extLst>
                </p:cNvPr>
                <p:cNvGraphicFramePr/>
                <p:nvPr/>
              </p:nvGraphicFramePr>
              <p:xfrm>
                <a:off x="6166969" y="1437388"/>
                <a:ext cx="2471193" cy="2476340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2"/>
                </a:graphicData>
              </a:graphic>
            </p:graphicFrame>
          </mc:Choice>
          <mc:Fallback xmlns="">
            <p:pic>
              <p:nvPicPr>
                <p:cNvPr id="117" name="Chart 116">
                  <a:extLst>
                    <a:ext uri="{FF2B5EF4-FFF2-40B4-BE49-F238E27FC236}">
                      <a16:creationId xmlns:a16="http://schemas.microsoft.com/office/drawing/2014/main" id="{8E2BB80A-9E71-37D5-5338-CB0AD2D9BEAD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5280137" y="1827669"/>
                  <a:ext cx="2976578" cy="247634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18" name="5-Point Star 117">
              <a:extLst>
                <a:ext uri="{FF2B5EF4-FFF2-40B4-BE49-F238E27FC236}">
                  <a16:creationId xmlns:a16="http://schemas.microsoft.com/office/drawing/2014/main" id="{86AD8213-076A-AD69-1122-3E611EB5F3C0}"/>
                </a:ext>
              </a:extLst>
            </p:cNvPr>
            <p:cNvSpPr/>
            <p:nvPr/>
          </p:nvSpPr>
          <p:spPr>
            <a:xfrm>
              <a:off x="8459507" y="1582355"/>
              <a:ext cx="233464" cy="215444"/>
            </a:xfrm>
            <a:prstGeom prst="star5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414244"/>
                </a:solidFill>
                <a:latin typeface="CiscoSansTT Light"/>
              </a:endParaRPr>
            </a:p>
          </p:txBody>
        </p:sp>
        <p:sp>
          <p:nvSpPr>
            <p:cNvPr id="119" name="5-Point Star 118">
              <a:extLst>
                <a:ext uri="{FF2B5EF4-FFF2-40B4-BE49-F238E27FC236}">
                  <a16:creationId xmlns:a16="http://schemas.microsoft.com/office/drawing/2014/main" id="{9653EA30-2424-21CD-FD12-993A4311E4C1}"/>
                </a:ext>
              </a:extLst>
            </p:cNvPr>
            <p:cNvSpPr/>
            <p:nvPr/>
          </p:nvSpPr>
          <p:spPr>
            <a:xfrm>
              <a:off x="8111038" y="1975997"/>
              <a:ext cx="233464" cy="215444"/>
            </a:xfrm>
            <a:prstGeom prst="star5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414244"/>
                </a:solidFill>
                <a:latin typeface="CiscoSansTT Light"/>
              </a:endParaRPr>
            </a:p>
          </p:txBody>
        </p:sp>
        <p:sp>
          <p:nvSpPr>
            <p:cNvPr id="120" name="5-Point Star 119">
              <a:extLst>
                <a:ext uri="{FF2B5EF4-FFF2-40B4-BE49-F238E27FC236}">
                  <a16:creationId xmlns:a16="http://schemas.microsoft.com/office/drawing/2014/main" id="{7CAC3607-4328-E1DC-2F3E-DE3C710E3375}"/>
                </a:ext>
              </a:extLst>
            </p:cNvPr>
            <p:cNvSpPr/>
            <p:nvPr/>
          </p:nvSpPr>
          <p:spPr>
            <a:xfrm>
              <a:off x="7765998" y="2383876"/>
              <a:ext cx="233464" cy="215444"/>
            </a:xfrm>
            <a:prstGeom prst="star5">
              <a:avLst>
                <a:gd name="adj" fmla="val 19098"/>
                <a:gd name="hf" fmla="val 105146"/>
                <a:gd name="vf" fmla="val 110557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dirty="0">
                <a:solidFill>
                  <a:srgbClr val="414244"/>
                </a:solidFill>
                <a:latin typeface="CiscoSansTT Light"/>
              </a:endParaRPr>
            </a:p>
          </p:txBody>
        </p:sp>
      </p:grpSp>
      <p:sp>
        <p:nvSpPr>
          <p:cNvPr id="124" name="Rectangle 123">
            <a:extLst>
              <a:ext uri="{FF2B5EF4-FFF2-40B4-BE49-F238E27FC236}">
                <a16:creationId xmlns:a16="http://schemas.microsoft.com/office/drawing/2014/main" id="{2F5FC1D4-3786-2C74-3992-3BD6609D9B9D}"/>
              </a:ext>
            </a:extLst>
          </p:cNvPr>
          <p:cNvSpPr/>
          <p:nvPr/>
        </p:nvSpPr>
        <p:spPr>
          <a:xfrm>
            <a:off x="1176442" y="4188466"/>
            <a:ext cx="2462599" cy="1984644"/>
          </a:xfrm>
          <a:prstGeom prst="rect">
            <a:avLst/>
          </a:prstGeom>
          <a:solidFill>
            <a:srgbClr val="1E4471"/>
          </a:solidFill>
          <a:ln w="25400" cap="flat" cmpd="sng" algn="ctr">
            <a:noFill/>
            <a:prstDash val="solid"/>
          </a:ln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 anchor="ctr">
            <a:noAutofit/>
          </a:bodyPr>
          <a:lstStyle/>
          <a:p>
            <a:pPr algn="ctr" defTabSz="1219170">
              <a:defRPr/>
            </a:pPr>
            <a:endParaRPr lang="en-US" sz="2400" kern="0" dirty="0">
              <a:solidFill>
                <a:srgbClr val="0D274D"/>
              </a:solidFill>
              <a:latin typeface="CiscoSansTT ExtraLight"/>
              <a:ea typeface="ＭＳ Ｐゴシック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C85709BD-6258-AF05-B121-CFC5B0CC6295}"/>
              </a:ext>
            </a:extLst>
          </p:cNvPr>
          <p:cNvSpPr txBox="1"/>
          <p:nvPr/>
        </p:nvSpPr>
        <p:spPr>
          <a:xfrm flipH="1">
            <a:off x="1288941" y="4324282"/>
            <a:ext cx="2251792" cy="1323439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867" spc="-200" dirty="0">
                <a:solidFill>
                  <a:srgbClr val="00BCEB"/>
                </a:solidFill>
                <a:latin typeface="CiscoSansTT ExtraLight"/>
                <a:ea typeface="CiscoSansTT ExtraLight" pitchFamily="34" charset="0"/>
                <a:cs typeface="CiscoSansTT ExtraLight" pitchFamily="34" charset="0"/>
              </a:rPr>
              <a:t>89%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89DB4563-9D80-21A3-3F86-AF81E9A3244E}"/>
              </a:ext>
            </a:extLst>
          </p:cNvPr>
          <p:cNvSpPr txBox="1"/>
          <p:nvPr/>
        </p:nvSpPr>
        <p:spPr>
          <a:xfrm flipH="1">
            <a:off x="1288944" y="5327919"/>
            <a:ext cx="2257744" cy="584968"/>
          </a:xfrm>
          <a:prstGeom prst="rect">
            <a:avLst/>
          </a:prstGeom>
          <a:noFill/>
          <a:effectLst>
            <a:outerShdw sx="0" sy="0" rotWithShape="0">
              <a:scrgbClr r="0" g="0" b="0"/>
            </a:outerShdw>
          </a:effectLst>
          <a:extLst>
            <a:ext uri="{E45631CC-5BF2-4c18-A39C-3461C7D3F71A}">
              <a14:hiddenSp3d xmlns="" xmlns:a14="http://schemas.microsoft.com/office/drawing/2010/main"/>
            </a:ext>
          </a:extLst>
        </p:spPr>
        <p:txBody>
          <a:bodyPr wrap="square" lIns="91440" tIns="45720" rIns="91440" bIns="45720" rtlCol="0">
            <a:noAutofit/>
          </a:bodyPr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CiscoSansTT ExtraLight"/>
                <a:ea typeface="ＭＳ Ｐゴシック" charset="0"/>
              </a:rPr>
              <a:t>Of LDoS Devices in Legacy Data Centers</a:t>
            </a:r>
          </a:p>
        </p:txBody>
      </p:sp>
      <p:sp>
        <p:nvSpPr>
          <p:cNvPr id="127" name="Title 2">
            <a:extLst>
              <a:ext uri="{FF2B5EF4-FFF2-40B4-BE49-F238E27FC236}">
                <a16:creationId xmlns:a16="http://schemas.microsoft.com/office/drawing/2014/main" id="{2F42F770-FBB4-17BD-08DB-3A9E400A6582}"/>
              </a:ext>
            </a:extLst>
          </p:cNvPr>
          <p:cNvSpPr txBox="1">
            <a:spLocks/>
          </p:cNvSpPr>
          <p:nvPr/>
        </p:nvSpPr>
        <p:spPr>
          <a:xfrm>
            <a:off x="632570" y="1252901"/>
            <a:ext cx="11225133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2253">
              <a:lnSpc>
                <a:spcPct val="100000"/>
              </a:lnSpc>
              <a:defRPr/>
            </a:pPr>
            <a:r>
              <a:rPr lang="en-US" sz="1200" b="1" dirty="0">
                <a:solidFill>
                  <a:srgbClr val="E3241B"/>
                </a:solidFill>
                <a:latin typeface="CiscoSansTT ExtraLight"/>
              </a:rPr>
              <a:t>Last Day of Support</a:t>
            </a:r>
            <a:r>
              <a:rPr lang="en-US" sz="1200" b="1" dirty="0">
                <a:solidFill>
                  <a:srgbClr val="FBAB2C"/>
                </a:solidFill>
                <a:latin typeface="CiscoSansTT ExtraLight"/>
              </a:rPr>
              <a:t>: </a:t>
            </a:r>
            <a:r>
              <a:rPr lang="en-US" sz="1200" dirty="0">
                <a:solidFill>
                  <a:srgbClr val="525252"/>
                </a:solidFill>
                <a:latin typeface="CiscoSansTT ExtraLight"/>
              </a:rPr>
              <a:t>The last date to receive support as entitled by active service contracts for covered Cisco hardware and software. After this date, support is no longer available.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ACC149C6-D62A-A25D-C714-72762E84F5AA}"/>
              </a:ext>
            </a:extLst>
          </p:cNvPr>
          <p:cNvSpPr txBox="1"/>
          <p:nvPr/>
        </p:nvSpPr>
        <p:spPr>
          <a:xfrm>
            <a:off x="9109412" y="2654132"/>
            <a:ext cx="64593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FFFFFF"/>
                </a:solidFill>
                <a:latin typeface="CiscoSansTT Light"/>
                <a:ea typeface="ＭＳ Ｐゴシック" charset="0"/>
              </a:rPr>
              <a:t>(36%)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79D630A4-BC2D-E052-7238-3B3B6EEDEE34}"/>
              </a:ext>
            </a:extLst>
          </p:cNvPr>
          <p:cNvSpPr txBox="1"/>
          <p:nvPr/>
        </p:nvSpPr>
        <p:spPr>
          <a:xfrm>
            <a:off x="9103086" y="3166465"/>
            <a:ext cx="64593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FFFFFF"/>
                </a:solidFill>
                <a:latin typeface="CiscoSansTT Light"/>
                <a:ea typeface="ＭＳ Ｐゴシック" charset="0"/>
              </a:rPr>
              <a:t>(25%)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B34E4645-2F10-74E2-8A35-6ADD2CC6E84F}"/>
              </a:ext>
            </a:extLst>
          </p:cNvPr>
          <p:cNvSpPr txBox="1"/>
          <p:nvPr/>
        </p:nvSpPr>
        <p:spPr>
          <a:xfrm>
            <a:off x="9103086" y="3682727"/>
            <a:ext cx="64593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FFFFFF"/>
                </a:solidFill>
                <a:latin typeface="CiscoSansTT Light"/>
                <a:ea typeface="ＭＳ Ｐゴシック" charset="0"/>
              </a:rPr>
              <a:t>(15%)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39B793C9-B91A-AC7E-5A0B-EA04642F5469}"/>
              </a:ext>
            </a:extLst>
          </p:cNvPr>
          <p:cNvSpPr txBox="1"/>
          <p:nvPr/>
        </p:nvSpPr>
        <p:spPr>
          <a:xfrm>
            <a:off x="9285279" y="4199447"/>
            <a:ext cx="645933" cy="25654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0D274D"/>
                </a:solidFill>
                <a:latin typeface="CiscoSansTT Light"/>
                <a:ea typeface="ＭＳ Ｐゴシック" charset="0"/>
              </a:rPr>
              <a:t>(6%)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A88243CC-370D-673B-A241-A7F8B48AA14B}"/>
              </a:ext>
            </a:extLst>
          </p:cNvPr>
          <p:cNvSpPr txBox="1"/>
          <p:nvPr/>
        </p:nvSpPr>
        <p:spPr>
          <a:xfrm>
            <a:off x="9103086" y="4724707"/>
            <a:ext cx="645933" cy="25654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0D274D"/>
                </a:solidFill>
                <a:latin typeface="CiscoSansTT Light"/>
                <a:ea typeface="ＭＳ Ｐゴシック" charset="0"/>
              </a:rPr>
              <a:t>(3%)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923ABF77-5BD7-C46F-0A33-6D606851C51F}"/>
              </a:ext>
            </a:extLst>
          </p:cNvPr>
          <p:cNvSpPr txBox="1"/>
          <p:nvPr/>
        </p:nvSpPr>
        <p:spPr>
          <a:xfrm>
            <a:off x="9082356" y="5233203"/>
            <a:ext cx="64593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 dirty="0">
                <a:solidFill>
                  <a:srgbClr val="FFFFFF"/>
                </a:solidFill>
                <a:latin typeface="CiscoSansTT Light"/>
                <a:ea typeface="ＭＳ Ｐゴシック" charset="0"/>
              </a:rPr>
              <a:t>(15%)</a:t>
            </a:r>
          </a:p>
        </p:txBody>
      </p:sp>
    </p:spTree>
    <p:extLst>
      <p:ext uri="{BB962C8B-B14F-4D97-AF65-F5344CB8AC3E}">
        <p14:creationId xmlns:p14="http://schemas.microsoft.com/office/powerpoint/2010/main" val="371277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6629" y="271468"/>
            <a:ext cx="10972800" cy="685800"/>
          </a:xfrm>
        </p:spPr>
        <p:txBody>
          <a:bodyPr/>
          <a:lstStyle/>
          <a:p>
            <a:r>
              <a:rPr lang="en-US" dirty="0"/>
              <a:t>FedEx Hardware EoX Snapshot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21F413-9E3A-452F-2EA9-CEC8C3A47E85}"/>
              </a:ext>
            </a:extLst>
          </p:cNvPr>
          <p:cNvGrpSpPr/>
          <p:nvPr/>
        </p:nvGrpSpPr>
        <p:grpSpPr>
          <a:xfrm>
            <a:off x="1978731" y="1990099"/>
            <a:ext cx="2468104" cy="1984644"/>
            <a:chOff x="474427" y="1196820"/>
            <a:chExt cx="1851078" cy="148848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E94C856-AD33-B5C5-1681-F27AE3C02A8C}"/>
                </a:ext>
              </a:extLst>
            </p:cNvPr>
            <p:cNvSpPr txBox="1"/>
            <p:nvPr/>
          </p:nvSpPr>
          <p:spPr>
            <a:xfrm>
              <a:off x="978453" y="1540952"/>
              <a:ext cx="726401" cy="377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667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39.3K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D5B06DF-2E07-20AC-DE55-E89B89885D3E}"/>
                </a:ext>
              </a:extLst>
            </p:cNvPr>
            <p:cNvSpPr txBox="1"/>
            <p:nvPr/>
          </p:nvSpPr>
          <p:spPr>
            <a:xfrm flipH="1">
              <a:off x="558805" y="1999035"/>
              <a:ext cx="1693308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Total Active Devices in the US and Canada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15E3F82-FFA0-A2DF-C081-15FF0CD2681B}"/>
                </a:ext>
              </a:extLst>
            </p:cNvPr>
            <p:cNvSpPr/>
            <p:nvPr/>
          </p:nvSpPr>
          <p:spPr>
            <a:xfrm>
              <a:off x="474427" y="1196820"/>
              <a:ext cx="1846949" cy="1488483"/>
            </a:xfrm>
            <a:prstGeom prst="rect">
              <a:avLst/>
            </a:prstGeom>
            <a:solidFill>
              <a:srgbClr val="1E4471"/>
            </a:solidFill>
            <a:ln w="25400" cap="flat" cmpd="sng" algn="ctr">
              <a:noFill/>
              <a:prstDash val="solid"/>
            </a:ln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D274D"/>
                </a:solidFill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2BD0089-1A88-A474-5EDF-ACA1549C218F}"/>
                </a:ext>
              </a:extLst>
            </p:cNvPr>
            <p:cNvSpPr txBox="1"/>
            <p:nvPr/>
          </p:nvSpPr>
          <p:spPr>
            <a:xfrm flipH="1">
              <a:off x="558802" y="1298682"/>
              <a:ext cx="1688844" cy="992579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867" spc="-200" dirty="0">
                  <a:solidFill>
                    <a:srgbClr val="00BCEB"/>
                  </a:solidFill>
                  <a:latin typeface="CiscoSansTT ExtraLight"/>
                  <a:ea typeface="CiscoSansTT ExtraLight" pitchFamily="34" charset="0"/>
                  <a:cs typeface="CiscoSansTT ExtraLight" pitchFamily="34" charset="0"/>
                </a:rPr>
                <a:t>6,998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ECB9BE4-9517-F9DD-AB8F-DD776DB28771}"/>
                </a:ext>
              </a:extLst>
            </p:cNvPr>
            <p:cNvSpPr txBox="1"/>
            <p:nvPr/>
          </p:nvSpPr>
          <p:spPr>
            <a:xfrm flipH="1">
              <a:off x="504460" y="2046487"/>
              <a:ext cx="1821045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33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Devices End of Software Maintenance</a:t>
              </a:r>
            </a:p>
          </p:txBody>
        </p:sp>
      </p:grpSp>
      <p:sp>
        <p:nvSpPr>
          <p:cNvPr id="114" name="Title 2">
            <a:extLst>
              <a:ext uri="{FF2B5EF4-FFF2-40B4-BE49-F238E27FC236}">
                <a16:creationId xmlns:a16="http://schemas.microsoft.com/office/drawing/2014/main" id="{D4B81EF8-0F92-F254-C300-5BEF9CE50253}"/>
              </a:ext>
            </a:extLst>
          </p:cNvPr>
          <p:cNvSpPr txBox="1">
            <a:spLocks/>
          </p:cNvSpPr>
          <p:nvPr/>
        </p:nvSpPr>
        <p:spPr>
          <a:xfrm>
            <a:off x="632570" y="839443"/>
            <a:ext cx="7616484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2253">
              <a:defRPr/>
            </a:pPr>
            <a:r>
              <a:rPr lang="en-US" sz="1600" b="1" dirty="0">
                <a:solidFill>
                  <a:srgbClr val="00BCEB"/>
                </a:solidFill>
                <a:latin typeface="CiscoSansTT ExtraLight"/>
              </a:rPr>
              <a:t>Currently End of Software Maintenanc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22D7134-21AA-E87C-46DF-8F34B2D2FEFA}"/>
              </a:ext>
            </a:extLst>
          </p:cNvPr>
          <p:cNvGrpSpPr/>
          <p:nvPr/>
        </p:nvGrpSpPr>
        <p:grpSpPr>
          <a:xfrm>
            <a:off x="1984237" y="4145867"/>
            <a:ext cx="2462599" cy="1984644"/>
            <a:chOff x="474427" y="2865956"/>
            <a:chExt cx="1846949" cy="1488483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42A985DB-2858-47B7-66D6-688FE4893578}"/>
                </a:ext>
              </a:extLst>
            </p:cNvPr>
            <p:cNvSpPr txBox="1"/>
            <p:nvPr/>
          </p:nvSpPr>
          <p:spPr>
            <a:xfrm>
              <a:off x="978453" y="3210088"/>
              <a:ext cx="726401" cy="377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667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39.3K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39129A5-1E1B-A098-89B6-62F4A0FC2ADD}"/>
                </a:ext>
              </a:extLst>
            </p:cNvPr>
            <p:cNvSpPr txBox="1"/>
            <p:nvPr/>
          </p:nvSpPr>
          <p:spPr>
            <a:xfrm flipH="1">
              <a:off x="558805" y="3668171"/>
              <a:ext cx="1693308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Total Active Devices in the US and Canada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D4722E5-F2B3-D5E9-281C-6F7D699556ED}"/>
                </a:ext>
              </a:extLst>
            </p:cNvPr>
            <p:cNvSpPr/>
            <p:nvPr/>
          </p:nvSpPr>
          <p:spPr>
            <a:xfrm>
              <a:off x="474427" y="2865956"/>
              <a:ext cx="1846949" cy="1488483"/>
            </a:xfrm>
            <a:prstGeom prst="rect">
              <a:avLst/>
            </a:prstGeom>
            <a:solidFill>
              <a:srgbClr val="1E4471"/>
            </a:solidFill>
            <a:ln w="25400" cap="flat" cmpd="sng" algn="ctr">
              <a:noFill/>
              <a:prstDash val="solid"/>
            </a:ln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D274D"/>
                </a:solidFill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C1F1CA4-4FC6-CD1A-22E9-B05798B9915D}"/>
                </a:ext>
              </a:extLst>
            </p:cNvPr>
            <p:cNvSpPr txBox="1"/>
            <p:nvPr/>
          </p:nvSpPr>
          <p:spPr>
            <a:xfrm flipH="1">
              <a:off x="558802" y="2967818"/>
              <a:ext cx="1688844" cy="992579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5867" spc="-200" dirty="0">
                  <a:solidFill>
                    <a:srgbClr val="00BCEB"/>
                  </a:solidFill>
                  <a:latin typeface="CiscoSansTT ExtraLight"/>
                  <a:ea typeface="CiscoSansTT ExtraLight" pitchFamily="34" charset="0"/>
                  <a:cs typeface="CiscoSansTT ExtraLight" pitchFamily="34" charset="0"/>
                </a:rPr>
                <a:t>95%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C0FB939-4831-9986-CC1E-D527176D92A9}"/>
                </a:ext>
              </a:extLst>
            </p:cNvPr>
            <p:cNvSpPr txBox="1"/>
            <p:nvPr/>
          </p:nvSpPr>
          <p:spPr>
            <a:xfrm flipH="1">
              <a:off x="533866" y="3722203"/>
              <a:ext cx="1743186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33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Of Devices Currently EoSWM and will reach LDoS in 2027</a:t>
              </a:r>
            </a:p>
          </p:txBody>
        </p:sp>
      </p:grpSp>
      <p:sp>
        <p:nvSpPr>
          <p:cNvPr id="20" name="Title 2">
            <a:extLst>
              <a:ext uri="{FF2B5EF4-FFF2-40B4-BE49-F238E27FC236}">
                <a16:creationId xmlns:a16="http://schemas.microsoft.com/office/drawing/2014/main" id="{D0433902-B120-6DD9-A9D6-5AA297832DC9}"/>
              </a:ext>
            </a:extLst>
          </p:cNvPr>
          <p:cNvSpPr txBox="1">
            <a:spLocks/>
          </p:cNvSpPr>
          <p:nvPr/>
        </p:nvSpPr>
        <p:spPr>
          <a:xfrm>
            <a:off x="632570" y="1252901"/>
            <a:ext cx="11225133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2253">
              <a:lnSpc>
                <a:spcPct val="100000"/>
              </a:lnSpc>
              <a:defRPr/>
            </a:pPr>
            <a:r>
              <a:rPr lang="en-US" sz="1200" b="1" dirty="0">
                <a:solidFill>
                  <a:srgbClr val="FBAB2C"/>
                </a:solidFill>
                <a:latin typeface="CiscoSansTT ExtraLight"/>
              </a:rPr>
              <a:t>End of Software Maintenance: </a:t>
            </a:r>
            <a:r>
              <a:rPr lang="en-US" sz="1200" dirty="0">
                <a:solidFill>
                  <a:srgbClr val="525252"/>
                </a:solidFill>
                <a:latin typeface="CiscoSansTT ExtraLight"/>
              </a:rPr>
              <a:t>The last date that Cisco Engineering may release any final software maintenance releases or bug fixes. </a:t>
            </a:r>
          </a:p>
          <a:p>
            <a:pPr defTabSz="912253">
              <a:lnSpc>
                <a:spcPct val="100000"/>
              </a:lnSpc>
              <a:defRPr/>
            </a:pPr>
            <a:endParaRPr lang="en-US" sz="1200" b="1" dirty="0">
              <a:solidFill>
                <a:srgbClr val="00BCEB"/>
              </a:solidFill>
              <a:latin typeface="CiscoSansTT ExtraLigh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DCF7D6F-D755-9EAC-3E24-501C5F0F5E87}"/>
              </a:ext>
            </a:extLst>
          </p:cNvPr>
          <p:cNvGrpSpPr/>
          <p:nvPr/>
        </p:nvGrpSpPr>
        <p:grpSpPr>
          <a:xfrm>
            <a:off x="5844567" y="1883640"/>
            <a:ext cx="4807757" cy="4300032"/>
            <a:chOff x="2900646" y="1412730"/>
            <a:chExt cx="3605818" cy="322502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4CA5FF6-ACAB-3D07-B454-5D4A20BFC692}"/>
                </a:ext>
              </a:extLst>
            </p:cNvPr>
            <p:cNvGrpSpPr/>
            <p:nvPr/>
          </p:nvGrpSpPr>
          <p:grpSpPr>
            <a:xfrm>
              <a:off x="2946140" y="1412730"/>
              <a:ext cx="3560324" cy="3225024"/>
              <a:chOff x="2944477" y="1272268"/>
              <a:chExt cx="3560324" cy="3225024"/>
            </a:xfrm>
          </p:grpSpPr>
          <p:graphicFrame>
            <p:nvGraphicFramePr>
              <p:cNvPr id="8" name="Chart 7">
                <a:extLst>
                  <a:ext uri="{FF2B5EF4-FFF2-40B4-BE49-F238E27FC236}">
                    <a16:creationId xmlns:a16="http://schemas.microsoft.com/office/drawing/2014/main" id="{5613EB95-05EA-38FD-7FC7-E2C1D9BB329B}"/>
                  </a:ext>
                </a:extLst>
              </p:cNvPr>
              <p:cNvGraphicFramePr>
                <a:graphicFrameLocks/>
              </p:cNvGraphicFramePr>
              <p:nvPr/>
            </p:nvGraphicFramePr>
            <p:xfrm>
              <a:off x="3105455" y="1371850"/>
              <a:ext cx="3399346" cy="312544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8A1406D-2376-D221-06B9-05806416EF26}"/>
                  </a:ext>
                </a:extLst>
              </p:cNvPr>
              <p:cNvSpPr/>
              <p:nvPr/>
            </p:nvSpPr>
            <p:spPr>
              <a:xfrm>
                <a:off x="2944477" y="1272268"/>
                <a:ext cx="3560324" cy="2385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60958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467" b="1" dirty="0">
                    <a:solidFill>
                      <a:srgbClr val="282828"/>
                    </a:solidFill>
                    <a:latin typeface="CiscoSansTT ExtraLight"/>
                    <a:ea typeface="ＭＳ Ｐゴシック" charset="0"/>
                  </a:rPr>
                  <a:t>Devices EoSWM per Product Family</a:t>
                </a:r>
                <a:endParaRPr lang="en-US" sz="4267" b="1" dirty="0">
                  <a:solidFill>
                    <a:srgbClr val="282828"/>
                  </a:solidFill>
                  <a:latin typeface="CiscoSansTT ExtraLight"/>
                  <a:ea typeface="ＭＳ Ｐゴシック" charset="0"/>
                </a:endParaRPr>
              </a:p>
            </p:txBody>
          </p:sp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98E3FCE-6748-ED53-2FAB-906FC058B278}"/>
                </a:ext>
              </a:extLst>
            </p:cNvPr>
            <p:cNvSpPr txBox="1"/>
            <p:nvPr/>
          </p:nvSpPr>
          <p:spPr>
            <a:xfrm>
              <a:off x="4207255" y="3563650"/>
              <a:ext cx="1393013" cy="34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Catalyst 2960-X Switches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414244"/>
                  </a:solidFill>
                  <a:latin typeface="CiscoSansTT Light"/>
                  <a:ea typeface="ＭＳ Ｐゴシック" charset="0"/>
                </a:rPr>
                <a:t>6,024 (86%)</a:t>
              </a:r>
            </a:p>
          </p:txBody>
        </p:sp>
        <p:sp>
          <p:nvSpPr>
            <p:cNvPr id="30" name="Line Callout 1 29">
              <a:extLst>
                <a:ext uri="{FF2B5EF4-FFF2-40B4-BE49-F238E27FC236}">
                  <a16:creationId xmlns:a16="http://schemas.microsoft.com/office/drawing/2014/main" id="{5CC8B5FA-6D18-9DEB-CAF8-4C72B64867CF}"/>
                </a:ext>
              </a:extLst>
            </p:cNvPr>
            <p:cNvSpPr/>
            <p:nvPr/>
          </p:nvSpPr>
          <p:spPr>
            <a:xfrm>
              <a:off x="2900646" y="2325846"/>
              <a:ext cx="1004341" cy="291920"/>
            </a:xfrm>
            <a:prstGeom prst="borderCallout1">
              <a:avLst>
                <a:gd name="adj1" fmla="val 52987"/>
                <a:gd name="adj2" fmla="val 99987"/>
                <a:gd name="adj3" fmla="val 68279"/>
                <a:gd name="adj4" fmla="val 126069"/>
              </a:avLst>
            </a:prstGeom>
            <a:solidFill>
              <a:schemeClr val="bg2"/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414244"/>
                  </a:solidFill>
                  <a:latin typeface="CiscoSansTT Light"/>
                </a:rPr>
                <a:t>Catalyst 3850 Switches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414244"/>
                  </a:solidFill>
                  <a:latin typeface="CiscoSansTT Light"/>
                </a:rPr>
                <a:t>408 (6%)</a:t>
              </a:r>
            </a:p>
          </p:txBody>
        </p:sp>
        <p:sp>
          <p:nvSpPr>
            <p:cNvPr id="31" name="Line Callout 1 30">
              <a:extLst>
                <a:ext uri="{FF2B5EF4-FFF2-40B4-BE49-F238E27FC236}">
                  <a16:creationId xmlns:a16="http://schemas.microsoft.com/office/drawing/2014/main" id="{768E42FD-8A7D-D2EB-15F5-FCD7A9599D3A}"/>
                </a:ext>
              </a:extLst>
            </p:cNvPr>
            <p:cNvSpPr/>
            <p:nvPr/>
          </p:nvSpPr>
          <p:spPr>
            <a:xfrm>
              <a:off x="3145471" y="2008131"/>
              <a:ext cx="1004341" cy="261611"/>
            </a:xfrm>
            <a:prstGeom prst="borderCallout1">
              <a:avLst>
                <a:gd name="adj1" fmla="val 52987"/>
                <a:gd name="adj2" fmla="val 99987"/>
                <a:gd name="adj3" fmla="val 135494"/>
                <a:gd name="adj4" fmla="val 129084"/>
              </a:avLst>
            </a:prstGeom>
            <a:solidFill>
              <a:schemeClr val="bg2"/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414244"/>
                  </a:solidFill>
                  <a:latin typeface="CiscoSansTT Light"/>
                </a:rPr>
                <a:t>Nexus 5000 Switches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414244"/>
                  </a:solidFill>
                  <a:latin typeface="CiscoSansTT Light"/>
                </a:rPr>
                <a:t>226 (3%)</a:t>
              </a:r>
            </a:p>
          </p:txBody>
        </p:sp>
        <p:sp>
          <p:nvSpPr>
            <p:cNvPr id="32" name="Line Callout 1 31">
              <a:extLst>
                <a:ext uri="{FF2B5EF4-FFF2-40B4-BE49-F238E27FC236}">
                  <a16:creationId xmlns:a16="http://schemas.microsoft.com/office/drawing/2014/main" id="{C1D3F452-370B-FA1B-82D4-8A258E5B71F3}"/>
                </a:ext>
              </a:extLst>
            </p:cNvPr>
            <p:cNvSpPr/>
            <p:nvPr/>
          </p:nvSpPr>
          <p:spPr>
            <a:xfrm>
              <a:off x="4304620" y="1793039"/>
              <a:ext cx="1004341" cy="261611"/>
            </a:xfrm>
            <a:prstGeom prst="borderCallout1">
              <a:avLst>
                <a:gd name="adj1" fmla="val 99283"/>
                <a:gd name="adj2" fmla="val 14971"/>
                <a:gd name="adj3" fmla="val 195676"/>
                <a:gd name="adj4" fmla="val 22966"/>
              </a:avLst>
            </a:prstGeom>
            <a:solidFill>
              <a:schemeClr val="bg2"/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414244"/>
                  </a:solidFill>
                  <a:latin typeface="CiscoSansTT Light"/>
                </a:rPr>
                <a:t>Nexus 9000 Switches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414244"/>
                  </a:solidFill>
                  <a:latin typeface="CiscoSansTT Light"/>
                </a:rPr>
                <a:t>81 (1%)</a:t>
              </a:r>
            </a:p>
          </p:txBody>
        </p:sp>
        <p:sp>
          <p:nvSpPr>
            <p:cNvPr id="33" name="Line Callout 1 32">
              <a:extLst>
                <a:ext uri="{FF2B5EF4-FFF2-40B4-BE49-F238E27FC236}">
                  <a16:creationId xmlns:a16="http://schemas.microsoft.com/office/drawing/2014/main" id="{FB4C14EF-4C0E-6BC2-A7B9-637A7F6226CD}"/>
                </a:ext>
              </a:extLst>
            </p:cNvPr>
            <p:cNvSpPr/>
            <p:nvPr/>
          </p:nvSpPr>
          <p:spPr>
            <a:xfrm>
              <a:off x="5352181" y="2044555"/>
              <a:ext cx="590391" cy="261611"/>
            </a:xfrm>
            <a:prstGeom prst="borderCallout1">
              <a:avLst>
                <a:gd name="adj1" fmla="val 52987"/>
                <a:gd name="adj2" fmla="val 501"/>
                <a:gd name="adj3" fmla="val 105402"/>
                <a:gd name="adj4" fmla="val -111457"/>
              </a:avLst>
            </a:prstGeom>
            <a:solidFill>
              <a:schemeClr val="bg2"/>
            </a:solidFill>
            <a:ln w="635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rIns="60960"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b="1" dirty="0">
                  <a:solidFill>
                    <a:srgbClr val="414244"/>
                  </a:solidFill>
                  <a:latin typeface="CiscoSansTT Light"/>
                </a:rPr>
                <a:t>Other</a:t>
              </a:r>
            </a:p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414244"/>
                  </a:solidFill>
                  <a:latin typeface="CiscoSansTT Light"/>
                </a:rPr>
                <a:t>259 (4%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656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6629" y="271468"/>
            <a:ext cx="10972800" cy="685800"/>
          </a:xfrm>
        </p:spPr>
        <p:txBody>
          <a:bodyPr/>
          <a:lstStyle/>
          <a:p>
            <a:r>
              <a:rPr lang="en-US" dirty="0"/>
              <a:t>FedEx Hardware EoX Snapshot </a:t>
            </a:r>
          </a:p>
        </p:txBody>
      </p:sp>
      <p:sp>
        <p:nvSpPr>
          <p:cNvPr id="114" name="Title 2">
            <a:extLst>
              <a:ext uri="{FF2B5EF4-FFF2-40B4-BE49-F238E27FC236}">
                <a16:creationId xmlns:a16="http://schemas.microsoft.com/office/drawing/2014/main" id="{D4B81EF8-0F92-F254-C300-5BEF9CE50253}"/>
              </a:ext>
            </a:extLst>
          </p:cNvPr>
          <p:cNvSpPr txBox="1">
            <a:spLocks/>
          </p:cNvSpPr>
          <p:nvPr/>
        </p:nvSpPr>
        <p:spPr>
          <a:xfrm>
            <a:off x="632570" y="839443"/>
            <a:ext cx="7616484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2253">
              <a:defRPr/>
            </a:pPr>
            <a:r>
              <a:rPr lang="en-US" sz="1600" b="1" dirty="0">
                <a:solidFill>
                  <a:srgbClr val="00BCEB"/>
                </a:solidFill>
                <a:latin typeface="CiscoSansTT ExtraLight"/>
              </a:rPr>
              <a:t>EoX Milestones June 1, 2025 — May 31, 2026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38B5811E-4CA2-29C6-72F4-4E88C443D356}"/>
              </a:ext>
            </a:extLst>
          </p:cNvPr>
          <p:cNvGraphicFramePr>
            <a:graphicFrameLocks noGrp="1"/>
          </p:cNvGraphicFramePr>
          <p:nvPr/>
        </p:nvGraphicFramePr>
        <p:xfrm>
          <a:off x="376811" y="1796644"/>
          <a:ext cx="5174614" cy="44958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87307">
                  <a:extLst>
                    <a:ext uri="{9D8B030D-6E8A-4147-A177-3AD203B41FA5}">
                      <a16:colId xmlns:a16="http://schemas.microsoft.com/office/drawing/2014/main" val="2973697298"/>
                    </a:ext>
                  </a:extLst>
                </a:gridCol>
                <a:gridCol w="2587307">
                  <a:extLst>
                    <a:ext uri="{9D8B030D-6E8A-4147-A177-3AD203B41FA5}">
                      <a16:colId xmlns:a16="http://schemas.microsoft.com/office/drawing/2014/main" val="1913983710"/>
                    </a:ext>
                  </a:extLst>
                </a:gridCol>
              </a:tblGrid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Month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EoX Milestone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901401341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June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LDoS</a:t>
                      </a:r>
                      <a:r>
                        <a:rPr lang="en-US" sz="1400" dirty="0"/>
                        <a:t>: IE 3000 (22)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02468686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July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EoSWM</a:t>
                      </a:r>
                      <a:r>
                        <a:rPr lang="en-US" sz="1400" dirty="0"/>
                        <a:t>: IE 4000 (4)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488604748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Augus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EoSWM</a:t>
                      </a:r>
                      <a:r>
                        <a:rPr lang="en-US" sz="1400" dirty="0"/>
                        <a:t>: ISR 4000 (5,529)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611461904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September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LDoS</a:t>
                      </a:r>
                      <a:r>
                        <a:rPr lang="en-US" sz="1400" dirty="0"/>
                        <a:t>: Nexus 5000 (226)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887470019"/>
                  </a:ext>
                </a:extLst>
              </a:tr>
              <a:tr h="975360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October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EoSWM</a:t>
                      </a:r>
                      <a:r>
                        <a:rPr lang="en-US" sz="1400" dirty="0"/>
                        <a:t>: VG300 (1,081)</a:t>
                      </a:r>
                    </a:p>
                    <a:p>
                      <a:pPr algn="l"/>
                      <a:r>
                        <a:rPr lang="en-US" sz="1400" b="1" dirty="0"/>
                        <a:t>LDoS</a:t>
                      </a:r>
                      <a:r>
                        <a:rPr lang="en-US" sz="1400" dirty="0"/>
                        <a:t>: Catalyst 4500X (49)</a:t>
                      </a:r>
                    </a:p>
                    <a:p>
                      <a:pPr algn="l"/>
                      <a:r>
                        <a:rPr lang="en-US" sz="1400" dirty="0"/>
                        <a:t>          Catalyst 6500 (66)</a:t>
                      </a:r>
                    </a:p>
                    <a:p>
                      <a:pPr algn="l"/>
                      <a:r>
                        <a:rPr lang="en-US" sz="1400" dirty="0"/>
                        <a:t>          Catalyst 6800 (6)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256153519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November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796895286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December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332426654"/>
                  </a:ext>
                </a:extLst>
              </a:tr>
            </a:tbl>
          </a:graphicData>
        </a:graphic>
      </p:graphicFrame>
      <p:sp>
        <p:nvSpPr>
          <p:cNvPr id="29" name="Title 2">
            <a:extLst>
              <a:ext uri="{FF2B5EF4-FFF2-40B4-BE49-F238E27FC236}">
                <a16:creationId xmlns:a16="http://schemas.microsoft.com/office/drawing/2014/main" id="{F38101E6-0C23-4228-5E9D-75FEFE36A8BD}"/>
              </a:ext>
            </a:extLst>
          </p:cNvPr>
          <p:cNvSpPr txBox="1">
            <a:spLocks/>
          </p:cNvSpPr>
          <p:nvPr/>
        </p:nvSpPr>
        <p:spPr>
          <a:xfrm>
            <a:off x="1708294" y="1407417"/>
            <a:ext cx="2648313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2253">
              <a:defRPr/>
            </a:pPr>
            <a:r>
              <a:rPr lang="en-US" sz="2133" b="1" dirty="0">
                <a:solidFill>
                  <a:srgbClr val="0D274D"/>
                </a:solidFill>
                <a:latin typeface="CiscoSansTT ExtraLight"/>
              </a:rPr>
              <a:t>2025</a:t>
            </a:r>
          </a:p>
        </p:txBody>
      </p: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621EB882-298D-6C35-C65C-B43CB6C1BC57}"/>
              </a:ext>
            </a:extLst>
          </p:cNvPr>
          <p:cNvGraphicFramePr>
            <a:graphicFrameLocks noGrp="1"/>
          </p:cNvGraphicFramePr>
          <p:nvPr/>
        </p:nvGraphicFramePr>
        <p:xfrm>
          <a:off x="6464683" y="1796644"/>
          <a:ext cx="5174614" cy="40233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587307">
                  <a:extLst>
                    <a:ext uri="{9D8B030D-6E8A-4147-A177-3AD203B41FA5}">
                      <a16:colId xmlns:a16="http://schemas.microsoft.com/office/drawing/2014/main" val="2973697298"/>
                    </a:ext>
                  </a:extLst>
                </a:gridCol>
                <a:gridCol w="2587307">
                  <a:extLst>
                    <a:ext uri="{9D8B030D-6E8A-4147-A177-3AD203B41FA5}">
                      <a16:colId xmlns:a16="http://schemas.microsoft.com/office/drawing/2014/main" val="1913983710"/>
                    </a:ext>
                  </a:extLst>
                </a:gridCol>
              </a:tblGrid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Month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EoX Milestone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901401341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January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02468686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February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488604748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March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611461904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April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/>
                        <a:t>EoSWM</a:t>
                      </a:r>
                      <a:r>
                        <a:rPr lang="en-US" sz="1400" dirty="0"/>
                        <a:t>: Catalyst 3560 (1)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887470019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May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256153519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June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796895286"/>
                  </a:ext>
                </a:extLst>
              </a:tr>
              <a:tr h="501312">
                <a:tc>
                  <a:txBody>
                    <a:bodyPr/>
                    <a:lstStyle/>
                    <a:p>
                      <a:pPr algn="ctr"/>
                      <a:r>
                        <a:rPr lang="en-US" sz="2500" dirty="0"/>
                        <a:t>July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332426654"/>
                  </a:ext>
                </a:extLst>
              </a:tr>
            </a:tbl>
          </a:graphicData>
        </a:graphic>
      </p:graphicFrame>
      <p:sp>
        <p:nvSpPr>
          <p:cNvPr id="31" name="Title 2">
            <a:extLst>
              <a:ext uri="{FF2B5EF4-FFF2-40B4-BE49-F238E27FC236}">
                <a16:creationId xmlns:a16="http://schemas.microsoft.com/office/drawing/2014/main" id="{DB4E3935-C94B-C6FC-0F10-B077AEB82E67}"/>
              </a:ext>
            </a:extLst>
          </p:cNvPr>
          <p:cNvSpPr txBox="1">
            <a:spLocks/>
          </p:cNvSpPr>
          <p:nvPr/>
        </p:nvSpPr>
        <p:spPr>
          <a:xfrm>
            <a:off x="7796166" y="1407417"/>
            <a:ext cx="2648313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912253">
              <a:defRPr/>
            </a:pPr>
            <a:r>
              <a:rPr lang="en-US" sz="2133" b="1" dirty="0">
                <a:solidFill>
                  <a:srgbClr val="0D274D"/>
                </a:solidFill>
                <a:latin typeface="CiscoSansTT ExtraLight"/>
              </a:rPr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173445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86629" y="271468"/>
            <a:ext cx="10972800" cy="685800"/>
          </a:xfrm>
        </p:spPr>
        <p:txBody>
          <a:bodyPr/>
          <a:lstStyle/>
          <a:p>
            <a:r>
              <a:rPr lang="en-US" dirty="0"/>
              <a:t>FedEx Hardware EoX Snapshot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F21F413-9E3A-452F-2EA9-CEC8C3A47E85}"/>
              </a:ext>
            </a:extLst>
          </p:cNvPr>
          <p:cNvGrpSpPr/>
          <p:nvPr/>
        </p:nvGrpSpPr>
        <p:grpSpPr>
          <a:xfrm>
            <a:off x="1035692" y="2146512"/>
            <a:ext cx="3605133" cy="2564977"/>
            <a:chOff x="474427" y="1196820"/>
            <a:chExt cx="2703850" cy="192373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E94C856-AD33-B5C5-1681-F27AE3C02A8C}"/>
                </a:ext>
              </a:extLst>
            </p:cNvPr>
            <p:cNvSpPr txBox="1"/>
            <p:nvPr/>
          </p:nvSpPr>
          <p:spPr>
            <a:xfrm>
              <a:off x="978453" y="1540952"/>
              <a:ext cx="726401" cy="3770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667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39.3K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D5B06DF-2E07-20AC-DE55-E89B89885D3E}"/>
                </a:ext>
              </a:extLst>
            </p:cNvPr>
            <p:cNvSpPr txBox="1"/>
            <p:nvPr/>
          </p:nvSpPr>
          <p:spPr>
            <a:xfrm flipH="1">
              <a:off x="558805" y="1999035"/>
              <a:ext cx="1693308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Total Active Devices in the US and Canada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15E3F82-FFA0-A2DF-C081-15FF0CD2681B}"/>
                </a:ext>
              </a:extLst>
            </p:cNvPr>
            <p:cNvSpPr/>
            <p:nvPr/>
          </p:nvSpPr>
          <p:spPr>
            <a:xfrm>
              <a:off x="474427" y="1196820"/>
              <a:ext cx="2703850" cy="1923733"/>
            </a:xfrm>
            <a:prstGeom prst="rect">
              <a:avLst/>
            </a:prstGeom>
            <a:solidFill>
              <a:srgbClr val="1E4471"/>
            </a:solidFill>
            <a:ln w="25400" cap="flat" cmpd="sng" algn="ctr">
              <a:noFill/>
              <a:prstDash val="solid"/>
            </a:ln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1219170">
                <a:defRPr/>
              </a:pPr>
              <a:endParaRPr lang="en-US" sz="2400" kern="0" dirty="0">
                <a:solidFill>
                  <a:srgbClr val="0D274D"/>
                </a:solidFill>
                <a:latin typeface="CiscoSansTT ExtraLight"/>
                <a:ea typeface="ＭＳ Ｐゴシック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2BD0089-1A88-A474-5EDF-ACA1549C218F}"/>
                </a:ext>
              </a:extLst>
            </p:cNvPr>
            <p:cNvSpPr txBox="1"/>
            <p:nvPr/>
          </p:nvSpPr>
          <p:spPr>
            <a:xfrm flipH="1">
              <a:off x="978453" y="1445182"/>
              <a:ext cx="1688844" cy="992579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200" spc="-200" dirty="0">
                  <a:solidFill>
                    <a:srgbClr val="00BCEB"/>
                  </a:solidFill>
                  <a:latin typeface="CiscoSansTT ExtraLight"/>
                  <a:ea typeface="CiscoSansTT ExtraLight" pitchFamily="34" charset="0"/>
                  <a:cs typeface="CiscoSansTT ExtraLight" pitchFamily="34" charset="0"/>
                </a:rPr>
                <a:t>371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8ECB9BE4-9517-F9DD-AB8F-DD776DB28771}"/>
                </a:ext>
              </a:extLst>
            </p:cNvPr>
            <p:cNvSpPr txBox="1"/>
            <p:nvPr/>
          </p:nvSpPr>
          <p:spPr>
            <a:xfrm flipH="1">
              <a:off x="709250" y="2339018"/>
              <a:ext cx="2234204" cy="438726"/>
            </a:xfrm>
            <a:prstGeom prst="rect">
              <a:avLst/>
            </a:prstGeom>
            <a:noFill/>
            <a:effectLst>
              <a:outerShdw sx="0" sy="0" rotWithShape="0">
                <a:scrgbClr r="0" g="0" b="0"/>
              </a:outerShdw>
            </a:effectLst>
            <a:extLst>
              <a:ext uri="{E45631CC-5BF2-4c18-A39C-3461C7D3F71A}">
                <a14:hiddenSp3d xmlns="" xmlns:a14="http://schemas.microsoft.com/office/drawing/2010/main"/>
              </a:ext>
            </a:extLst>
          </p:spPr>
          <p:txBody>
            <a:bodyPr wrap="square" lIns="91440" tIns="45720" rIns="91440" bIns="45720" rtlCol="0">
              <a:noAutofit/>
            </a:bodyPr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FFFFFF"/>
                  </a:solidFill>
                  <a:latin typeface="CiscoSansTT ExtraLight"/>
                  <a:ea typeface="ＭＳ Ｐゴシック" charset="0"/>
                </a:rPr>
                <a:t>Devices will reach Last Day of Support in 2025</a:t>
              </a:r>
            </a:p>
          </p:txBody>
        </p:sp>
      </p:grpSp>
      <p:sp>
        <p:nvSpPr>
          <p:cNvPr id="114" name="Title 2">
            <a:extLst>
              <a:ext uri="{FF2B5EF4-FFF2-40B4-BE49-F238E27FC236}">
                <a16:creationId xmlns:a16="http://schemas.microsoft.com/office/drawing/2014/main" id="{D4B81EF8-0F92-F254-C300-5BEF9CE50253}"/>
              </a:ext>
            </a:extLst>
          </p:cNvPr>
          <p:cNvSpPr txBox="1">
            <a:spLocks/>
          </p:cNvSpPr>
          <p:nvPr/>
        </p:nvSpPr>
        <p:spPr>
          <a:xfrm>
            <a:off x="632570" y="839443"/>
            <a:ext cx="7616484" cy="389227"/>
          </a:xfrm>
          <a:prstGeom prst="rect">
            <a:avLst/>
          </a:prstGeom>
        </p:spPr>
        <p:txBody>
          <a:bodyPr vert="horz" lIns="60960" tIns="60960" rIns="60960" bIns="60960" rtlCol="0" anchor="ctr">
            <a:noAutofit/>
          </a:bodyPr>
          <a:lstStyle>
            <a:lvl1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700" b="0" i="0" u="none" kern="1200" dirty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196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93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89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84" algn="l" defTabSz="6842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912253">
              <a:defRPr/>
            </a:pPr>
            <a:r>
              <a:rPr lang="en-US" sz="1600" b="1" dirty="0">
                <a:solidFill>
                  <a:srgbClr val="00BCEB"/>
                </a:solidFill>
                <a:latin typeface="CiscoSansTT ExtraLight"/>
              </a:rPr>
              <a:t>Devices Reaching LDoS in 2025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1FAC4DFB-A920-7052-3BB5-B9CDF2A33A73}"/>
              </a:ext>
            </a:extLst>
          </p:cNvPr>
          <p:cNvGraphicFramePr>
            <a:graphicFrameLocks noGrp="1"/>
          </p:cNvGraphicFramePr>
          <p:nvPr/>
        </p:nvGraphicFramePr>
        <p:xfrm>
          <a:off x="5617641" y="2339673"/>
          <a:ext cx="5761548" cy="1924206"/>
        </p:xfrm>
        <a:graphic>
          <a:graphicData uri="http://schemas.openxmlformats.org/drawingml/2006/table">
            <a:tbl>
              <a:tblPr>
                <a:tableStyleId>{9D7B26C5-4107-4FEC-AEDC-1716B250A1EF}</a:tableStyleId>
              </a:tblPr>
              <a:tblGrid>
                <a:gridCol w="4153845">
                  <a:extLst>
                    <a:ext uri="{9D8B030D-6E8A-4147-A177-3AD203B41FA5}">
                      <a16:colId xmlns:a16="http://schemas.microsoft.com/office/drawing/2014/main" val="49713423"/>
                    </a:ext>
                  </a:extLst>
                </a:gridCol>
                <a:gridCol w="1607703">
                  <a:extLst>
                    <a:ext uri="{9D8B030D-6E8A-4147-A177-3AD203B41FA5}">
                      <a16:colId xmlns:a16="http://schemas.microsoft.com/office/drawing/2014/main" val="4191627865"/>
                    </a:ext>
                  </a:extLst>
                </a:gridCol>
              </a:tblGrid>
              <a:tr h="34556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</a:rPr>
                        <a:t>Device Product Family and Location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628" marR="9628" marT="9628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300" b="1" u="none" strike="noStrike" dirty="0">
                          <a:effectLst/>
                        </a:rPr>
                        <a:t>Device Count</a:t>
                      </a:r>
                      <a:endParaRPr lang="en-US" sz="13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628" marR="9628" marT="9628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376167"/>
                  </a:ext>
                </a:extLst>
              </a:tr>
              <a:tr h="2690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</a:rPr>
                        <a:t> Cisco Nexus 5000 Series Switch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6</a:t>
                      </a: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9441333"/>
                  </a:ext>
                </a:extLst>
              </a:tr>
              <a:tr h="2525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</a:rPr>
                        <a:t>  Cisco Catalyst 6500 Series Switch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0941013"/>
                  </a:ext>
                </a:extLst>
              </a:tr>
              <a:tr h="2595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</a:rPr>
                        <a:t>  Cisco Catalyst 4500-X Series Switch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</a:t>
                      </a: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540190"/>
                  </a:ext>
                </a:extLst>
              </a:tr>
              <a:tr h="2658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sco Industrial Ethernet 3000 Series Switches</a:t>
                      </a:r>
                    </a:p>
                  </a:txBody>
                  <a:tcPr marL="76200" marR="12700" marT="1270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3704120"/>
                  </a:ext>
                </a:extLst>
              </a:tr>
              <a:tr h="2658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effectLst/>
                        </a:rPr>
                        <a:t>  Cisco Catalyst 6800 Series Switch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301165"/>
                  </a:ext>
                </a:extLst>
              </a:tr>
              <a:tr h="2658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sco ASR 1000 Series Aggregation Services Routers</a:t>
                      </a:r>
                    </a:p>
                  </a:txBody>
                  <a:tcPr marL="76200" marR="12700" marT="1270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628" marR="9628" marT="9628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040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504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Custom 1">
      <a:dk1>
        <a:srgbClr val="121212"/>
      </a:dk1>
      <a:lt1>
        <a:srgbClr val="FFFFFF"/>
      </a:lt1>
      <a:dk2>
        <a:srgbClr val="333333"/>
      </a:dk2>
      <a:lt2>
        <a:srgbClr val="0086E9"/>
      </a:lt2>
      <a:accent1>
        <a:srgbClr val="ED282A"/>
      </a:accent1>
      <a:accent2>
        <a:srgbClr val="150D7F"/>
      </a:accent2>
      <a:accent3>
        <a:srgbClr val="1F487C"/>
      </a:accent3>
      <a:accent4>
        <a:srgbClr val="1D1D48"/>
      </a:accent4>
      <a:accent5>
        <a:srgbClr val="E21C78"/>
      </a:accent5>
      <a:accent6>
        <a:srgbClr val="8211C4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28575">
          <a:solidFill>
            <a:schemeClr val="bg2">
              <a:lumMod val="50000"/>
            </a:schemeClr>
          </a:solidFill>
        </a:ln>
      </a:spPr>
      <a:bodyPr rtlCol="0" anchor="ctr"/>
      <a:lstStyle>
        <a:defPPr algn="ctr">
          <a:defRPr sz="3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5" id="{BF4A94E6-BAD3-9F48-A812-4A727275B833}" vid="{2BE36C3A-C21B-7744-9C0F-9652CB57E25C}"/>
    </a:ext>
  </a:extLst>
</a:theme>
</file>

<file path=ppt/theme/theme10.xml><?xml version="1.0" encoding="utf-8"?>
<a:theme xmlns:a="http://schemas.openxmlformats.org/drawingml/2006/main" name="CX2024">
  <a:themeElements>
    <a:clrScheme name="Custom 1">
      <a:dk1>
        <a:srgbClr val="0D274D"/>
      </a:dk1>
      <a:lt1>
        <a:srgbClr val="414244"/>
      </a:lt1>
      <a:dk2>
        <a:srgbClr val="FFFFFF"/>
      </a:dk2>
      <a:lt2>
        <a:srgbClr val="0051AF"/>
      </a:lt2>
      <a:accent1>
        <a:srgbClr val="00BCEB"/>
      </a:accent1>
      <a:accent2>
        <a:srgbClr val="74BF4B"/>
      </a:accent2>
      <a:accent3>
        <a:srgbClr val="0051AF"/>
      </a:accent3>
      <a:accent4>
        <a:srgbClr val="E2E2E2"/>
      </a:accent4>
      <a:accent5>
        <a:srgbClr val="FBAB2C"/>
      </a:accent5>
      <a:accent6>
        <a:srgbClr val="E3241B"/>
      </a:accent6>
      <a:hlink>
        <a:srgbClr val="0050AE"/>
      </a:hlink>
      <a:folHlink>
        <a:srgbClr val="00BCEB"/>
      </a:folHlink>
    </a:clrScheme>
    <a:fontScheme name="Custom 13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45720" rIns="45720"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X2024" id="{A778D1AB-5A33-B24F-85E5-8A999E9F5B71}" vid="{FE8F5B26-3993-E746-837D-D0B91E73C1A0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ver Slides">
  <a:themeElements>
    <a:clrScheme name="Custom 32">
      <a:dk1>
        <a:srgbClr val="000000"/>
      </a:dk1>
      <a:lt1>
        <a:srgbClr val="FFFFFF"/>
      </a:lt1>
      <a:dk2>
        <a:srgbClr val="333333"/>
      </a:dk2>
      <a:lt2>
        <a:srgbClr val="133C54"/>
      </a:lt2>
      <a:accent1>
        <a:srgbClr val="CC0100"/>
      </a:accent1>
      <a:accent2>
        <a:srgbClr val="CC0100"/>
      </a:accent2>
      <a:accent3>
        <a:srgbClr val="0A4A8C"/>
      </a:accent3>
      <a:accent4>
        <a:srgbClr val="C1D9EC"/>
      </a:accent4>
      <a:accent5>
        <a:srgbClr val="F1F1F1"/>
      </a:accent5>
      <a:accent6>
        <a:srgbClr val="000000"/>
      </a:accent6>
      <a:hlink>
        <a:srgbClr val="0A4A8C"/>
      </a:hlink>
      <a:folHlink>
        <a:srgbClr val="C1D9EC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ver Slides">
  <a:themeElements>
    <a:clrScheme name="Custom 32">
      <a:dk1>
        <a:srgbClr val="000000"/>
      </a:dk1>
      <a:lt1>
        <a:srgbClr val="FFFFFF"/>
      </a:lt1>
      <a:dk2>
        <a:srgbClr val="333333"/>
      </a:dk2>
      <a:lt2>
        <a:srgbClr val="133C54"/>
      </a:lt2>
      <a:accent1>
        <a:srgbClr val="CC0100"/>
      </a:accent1>
      <a:accent2>
        <a:srgbClr val="CC0100"/>
      </a:accent2>
      <a:accent3>
        <a:srgbClr val="0A4A8C"/>
      </a:accent3>
      <a:accent4>
        <a:srgbClr val="C1D9EC"/>
      </a:accent4>
      <a:accent5>
        <a:srgbClr val="F1F1F1"/>
      </a:accent5>
      <a:accent6>
        <a:srgbClr val="000000"/>
      </a:accent6>
      <a:hlink>
        <a:srgbClr val="0A4A8C"/>
      </a:hlink>
      <a:folHlink>
        <a:srgbClr val="C1D9EC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9_Office Theme">
  <a:themeElements>
    <a:clrScheme name="Custom 3">
      <a:dk1>
        <a:srgbClr val="121212"/>
      </a:dk1>
      <a:lt1>
        <a:srgbClr val="FFFFFF"/>
      </a:lt1>
      <a:dk2>
        <a:srgbClr val="1C0087"/>
      </a:dk2>
      <a:lt2>
        <a:srgbClr val="0086EA"/>
      </a:lt2>
      <a:accent1>
        <a:srgbClr val="EE282A"/>
      </a:accent1>
      <a:accent2>
        <a:srgbClr val="162FB3"/>
      </a:accent2>
      <a:accent3>
        <a:srgbClr val="1D1E48"/>
      </a:accent3>
      <a:accent4>
        <a:srgbClr val="FA4616"/>
      </a:accent4>
      <a:accent5>
        <a:srgbClr val="E31C79"/>
      </a:accent5>
      <a:accent6>
        <a:srgbClr val="8212C3"/>
      </a:accent6>
      <a:hlink>
        <a:srgbClr val="162FB3"/>
      </a:hlink>
      <a:folHlink>
        <a:srgbClr val="FA461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3977C724-05CF-430B-AF61-E226209B6C93}" vid="{33BA3895-6848-4BF7-B090-29D1E89996E3}"/>
    </a:ext>
  </a:extLst>
</a:theme>
</file>

<file path=ppt/theme/theme5.xml><?xml version="1.0" encoding="utf-8"?>
<a:theme xmlns:a="http://schemas.openxmlformats.org/drawingml/2006/main" name="1_Office Theme">
  <a:themeElements>
    <a:clrScheme name="New World Palette">
      <a:dk1>
        <a:srgbClr val="121212"/>
      </a:dk1>
      <a:lt1>
        <a:srgbClr val="FFFFFF"/>
      </a:lt1>
      <a:dk2>
        <a:srgbClr val="333333"/>
      </a:dk2>
      <a:lt2>
        <a:srgbClr val="0086E9"/>
      </a:lt2>
      <a:accent1>
        <a:srgbClr val="ED282A"/>
      </a:accent1>
      <a:accent2>
        <a:srgbClr val="150D7F"/>
      </a:accent2>
      <a:accent3>
        <a:srgbClr val="152FB3"/>
      </a:accent3>
      <a:accent4>
        <a:srgbClr val="1D1D48"/>
      </a:accent4>
      <a:accent5>
        <a:srgbClr val="E21C78"/>
      </a:accent5>
      <a:accent6>
        <a:srgbClr val="8211C4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WT BAA 2021 Template 16x9" id="{6721BC52-F046-1E45-B429-EA1CE772F4B2}" vid="{6C47F5DB-F7D8-2A47-9394-23844A744D5A}"/>
    </a:ext>
  </a:extLst>
</a:theme>
</file>

<file path=ppt/theme/theme6.xml><?xml version="1.0" encoding="utf-8"?>
<a:theme xmlns:a="http://schemas.openxmlformats.org/drawingml/2006/main" name="2_Cover Slides">
  <a:themeElements>
    <a:clrScheme name="Custom 32">
      <a:dk1>
        <a:srgbClr val="000000"/>
      </a:dk1>
      <a:lt1>
        <a:srgbClr val="FFFFFF"/>
      </a:lt1>
      <a:dk2>
        <a:srgbClr val="333333"/>
      </a:dk2>
      <a:lt2>
        <a:srgbClr val="133C54"/>
      </a:lt2>
      <a:accent1>
        <a:srgbClr val="CC0100"/>
      </a:accent1>
      <a:accent2>
        <a:srgbClr val="CC0100"/>
      </a:accent2>
      <a:accent3>
        <a:srgbClr val="0A4A8C"/>
      </a:accent3>
      <a:accent4>
        <a:srgbClr val="C1D9EC"/>
      </a:accent4>
      <a:accent5>
        <a:srgbClr val="F1F1F1"/>
      </a:accent5>
      <a:accent6>
        <a:srgbClr val="000000"/>
      </a:accent6>
      <a:hlink>
        <a:srgbClr val="0A4A8C"/>
      </a:hlink>
      <a:folHlink>
        <a:srgbClr val="C1D9EC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3_Office Theme">
  <a:themeElements>
    <a:clrScheme name="Custom 5">
      <a:dk1>
        <a:srgbClr val="000000"/>
      </a:dk1>
      <a:lt1>
        <a:srgbClr val="FFFFFF"/>
      </a:lt1>
      <a:dk2>
        <a:srgbClr val="0036BC"/>
      </a:dk2>
      <a:lt2>
        <a:srgbClr val="FFFFFF"/>
      </a:lt2>
      <a:accent1>
        <a:srgbClr val="0036BC"/>
      </a:accent1>
      <a:accent2>
        <a:srgbClr val="054CFF"/>
      </a:accent2>
      <a:accent3>
        <a:srgbClr val="0070FF"/>
      </a:accent3>
      <a:accent4>
        <a:srgbClr val="37B8FF"/>
      </a:accent4>
      <a:accent5>
        <a:srgbClr val="95CCF9"/>
      </a:accent5>
      <a:accent6>
        <a:srgbClr val="C7E5FD"/>
      </a:accent6>
      <a:hlink>
        <a:srgbClr val="162FB3"/>
      </a:hlink>
      <a:folHlink>
        <a:srgbClr val="59B8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B050"/>
        </a:solidFill>
        <a:ln>
          <a:noFill/>
        </a:ln>
      </a:spPr>
      <a:bodyPr rtlCol="0" anchor="ctr"/>
      <a:lstStyle>
        <a:defPPr algn="ctr">
          <a:defRPr sz="16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t">
        <a:noAutofit/>
      </a:bodyPr>
      <a:lstStyle>
        <a:defPPr marL="0" marR="0" indent="0" algn="l" defTabSz="914400" rtl="0" eaLnBrk="1" fontAlgn="auto" latinLnBrk="0" hangingPunct="1">
          <a:lnSpc>
            <a:spcPts val="35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-2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  <a:latin typeface="Arial" panose="020B0604020202020204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5_Office Theme">
  <a:themeElements>
    <a:clrScheme name="Custom 3">
      <a:dk1>
        <a:srgbClr val="121212"/>
      </a:dk1>
      <a:lt1>
        <a:srgbClr val="FFFFFF"/>
      </a:lt1>
      <a:dk2>
        <a:srgbClr val="1C0087"/>
      </a:dk2>
      <a:lt2>
        <a:srgbClr val="0086EA"/>
      </a:lt2>
      <a:accent1>
        <a:srgbClr val="EE282A"/>
      </a:accent1>
      <a:accent2>
        <a:srgbClr val="162FB3"/>
      </a:accent2>
      <a:accent3>
        <a:srgbClr val="1D1E48"/>
      </a:accent3>
      <a:accent4>
        <a:srgbClr val="FA4616"/>
      </a:accent4>
      <a:accent5>
        <a:srgbClr val="E31C79"/>
      </a:accent5>
      <a:accent6>
        <a:srgbClr val="8212C3"/>
      </a:accent6>
      <a:hlink>
        <a:srgbClr val="162FB3"/>
      </a:hlink>
      <a:folHlink>
        <a:srgbClr val="FA461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7_Office Theme">
  <a:themeElements>
    <a:clrScheme name="Custom 10">
      <a:dk1>
        <a:srgbClr val="121212"/>
      </a:dk1>
      <a:lt1>
        <a:srgbClr val="FFFFFF"/>
      </a:lt1>
      <a:dk2>
        <a:srgbClr val="333333"/>
      </a:dk2>
      <a:lt2>
        <a:srgbClr val="0086E9"/>
      </a:lt2>
      <a:accent1>
        <a:srgbClr val="ED282A"/>
      </a:accent1>
      <a:accent2>
        <a:srgbClr val="150D7F"/>
      </a:accent2>
      <a:accent3>
        <a:srgbClr val="152FB3"/>
      </a:accent3>
      <a:accent4>
        <a:srgbClr val="1D1D48"/>
      </a:accent4>
      <a:accent5>
        <a:srgbClr val="E21C78"/>
      </a:accent5>
      <a:accent6>
        <a:srgbClr val="8211C4"/>
      </a:accent6>
      <a:hlink>
        <a:srgbClr val="0086E9"/>
      </a:hlink>
      <a:folHlink>
        <a:srgbClr val="0086E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0E2841"/>
    </a:dk2>
    <a:lt2>
      <a:srgbClr val="E8E8E8"/>
    </a:lt2>
    <a:accent1>
      <a:srgbClr val="156082"/>
    </a:accent1>
    <a:accent2>
      <a:srgbClr val="E97132"/>
    </a:accent2>
    <a:accent3>
      <a:srgbClr val="196B24"/>
    </a:accent3>
    <a:accent4>
      <a:srgbClr val="0F9ED5"/>
    </a:accent4>
    <a:accent5>
      <a:srgbClr val="A02B93"/>
    </a:accent5>
    <a:accent6>
      <a:srgbClr val="4EA72E"/>
    </a:accent6>
    <a:hlink>
      <a:srgbClr val="467886"/>
    </a:hlink>
    <a:folHlink>
      <a:srgbClr val="96607D"/>
    </a:folHlink>
  </a:clrScheme>
  <a:fontScheme name="Office">
    <a:majorFont>
      <a:latin typeface="Aptos Display" panose="0211000402020202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Aptos Narrow" panose="0211000402020202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8D5E14D83EED4C953AEA88C1F1BEBC" ma:contentTypeVersion="4" ma:contentTypeDescription="Create a new document." ma:contentTypeScope="" ma:versionID="09661f097d5f41e725675a5699823985">
  <xsd:schema xmlns:xsd="http://www.w3.org/2001/XMLSchema" xmlns:xs="http://www.w3.org/2001/XMLSchema" xmlns:p="http://schemas.microsoft.com/office/2006/metadata/properties" xmlns:ns2="19be25d8-4154-4638-9eb0-529562d16799" targetNamespace="http://schemas.microsoft.com/office/2006/metadata/properties" ma:root="true" ma:fieldsID="ba6113b54a7d534d7a6d6d841d78c30d" ns2:_="">
    <xsd:import namespace="19be25d8-4154-4638-9eb0-529562d167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be25d8-4154-4638-9eb0-529562d167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A7BB261-0A39-4EAB-936E-16A408AE2EC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0EDF650-04F1-4370-9558-ABF7B00D1E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9be25d8-4154-4638-9eb0-529562d167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BF3908-1CDE-498D-A1B2-309CDA2437B9}">
  <ds:schemaRefs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19be25d8-4154-4638-9eb0-529562d16799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c79d5839-6375-4882-8da0-c26f6136967d}" enabled="1" method="Privileged" siteId="{a2d8e6b4-e26e-4421-8f3d-ec288c827c7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90</TotalTime>
  <Words>814</Words>
  <Application>Microsoft Office PowerPoint</Application>
  <PresentationFormat>Widescreen</PresentationFormat>
  <Paragraphs>217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7" baseType="lpstr">
      <vt:lpstr>AppleSymbols</vt:lpstr>
      <vt:lpstr>Aptos</vt:lpstr>
      <vt:lpstr>Aptos Narrow</vt:lpstr>
      <vt:lpstr>Arial</vt:lpstr>
      <vt:lpstr>Calibri</vt:lpstr>
      <vt:lpstr>CiscoSansTT ExtraLight</vt:lpstr>
      <vt:lpstr>CiscoSansTT Light</vt:lpstr>
      <vt:lpstr>Helvetica</vt:lpstr>
      <vt:lpstr>Montserrat</vt:lpstr>
      <vt:lpstr>Montserrat Black</vt:lpstr>
      <vt:lpstr>Montserrat Medium</vt:lpstr>
      <vt:lpstr>Roboto</vt:lpstr>
      <vt:lpstr>Roboto Black</vt:lpstr>
      <vt:lpstr>Roboto Light</vt:lpstr>
      <vt:lpstr>System Font Regular</vt:lpstr>
      <vt:lpstr>3_Office Theme</vt:lpstr>
      <vt:lpstr>Cover Slides</vt:lpstr>
      <vt:lpstr>1_Cover Slides</vt:lpstr>
      <vt:lpstr>9_Office Theme</vt:lpstr>
      <vt:lpstr>1_Office Theme</vt:lpstr>
      <vt:lpstr>2_Cover Slides</vt:lpstr>
      <vt:lpstr>23_Office Theme</vt:lpstr>
      <vt:lpstr>25_Office Theme</vt:lpstr>
      <vt:lpstr>17_Office Theme</vt:lpstr>
      <vt:lpstr>CX2024</vt:lpstr>
      <vt:lpstr>think-cell Slide</vt:lpstr>
      <vt:lpstr>PowerPoint Presentation</vt:lpstr>
      <vt:lpstr>PowerPoint Presentation</vt:lpstr>
      <vt:lpstr>PowerPoint Presentation</vt:lpstr>
      <vt:lpstr>PowerPoint Presentation</vt:lpstr>
      <vt:lpstr>FedEx Hardware EoX Snapshot </vt:lpstr>
      <vt:lpstr>FedEx Hardware EoX Snapshot </vt:lpstr>
      <vt:lpstr>FedEx Hardware EoX Snapshot </vt:lpstr>
      <vt:lpstr>FedEx Hardware EoX Snapshot </vt:lpstr>
      <vt:lpstr>FedEx Hardware EoX Snapshot </vt:lpstr>
      <vt:lpstr>FedEx Hardware EoX Snapshot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Confirm understand requirements</dc:title>
  <dc:creator>Binning, Jas</dc:creator>
  <cp:lastModifiedBy>Herr, Donna</cp:lastModifiedBy>
  <cp:revision>394</cp:revision>
  <cp:lastPrinted>2024-02-16T13:49:26Z</cp:lastPrinted>
  <dcterms:created xsi:type="dcterms:W3CDTF">2019-08-05T13:24:07Z</dcterms:created>
  <dcterms:modified xsi:type="dcterms:W3CDTF">2024-10-04T18:5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D8D5E14D83EED4C953AEA88C1F1BEBC</vt:lpwstr>
  </property>
  <property fmtid="{D5CDD505-2E9C-101B-9397-08002B2CF9AE}" pid="3" name="ClassificationContentMarkingFooterLocations">
    <vt:lpwstr>3_Office Theme:9\Cover Slides:8\1_Cover Slides:8\9_Office Theme:8\1_Office Theme:8\2_Cover Slides:8\23_Office Theme:7\25_Office Theme:8\17_Office Theme:8\CX2024:4</vt:lpwstr>
  </property>
  <property fmtid="{D5CDD505-2E9C-101B-9397-08002B2CF9AE}" pid="4" name="ClassificationContentMarkingFooterText">
    <vt:lpwstr>CONFIDENTIAL</vt:lpwstr>
  </property>
</Properties>
</file>